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wdp" ContentType="image/vnd.ms-photo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5" r:id="rId4"/>
    <p:sldMasterId id="2147483758" r:id="rId5"/>
  </p:sldMasterIdLst>
  <p:notesMasterIdLst>
    <p:notesMasterId r:id="rId61"/>
  </p:notesMasterIdLst>
  <p:handoutMasterIdLst>
    <p:handoutMasterId r:id="rId62"/>
  </p:handoutMasterIdLst>
  <p:sldIdLst>
    <p:sldId id="276" r:id="rId6"/>
    <p:sldId id="317" r:id="rId7"/>
    <p:sldId id="328" r:id="rId8"/>
    <p:sldId id="318" r:id="rId9"/>
    <p:sldId id="330" r:id="rId10"/>
    <p:sldId id="296" r:id="rId11"/>
    <p:sldId id="331" r:id="rId12"/>
    <p:sldId id="332" r:id="rId13"/>
    <p:sldId id="333" r:id="rId14"/>
    <p:sldId id="334" r:id="rId15"/>
    <p:sldId id="322" r:id="rId16"/>
    <p:sldId id="323" r:id="rId17"/>
    <p:sldId id="319" r:id="rId18"/>
    <p:sldId id="326" r:id="rId19"/>
    <p:sldId id="314" r:id="rId20"/>
    <p:sldId id="335" r:id="rId21"/>
    <p:sldId id="338" r:id="rId22"/>
    <p:sldId id="298" r:id="rId23"/>
    <p:sldId id="297" r:id="rId24"/>
    <p:sldId id="299" r:id="rId25"/>
    <p:sldId id="300" r:id="rId26"/>
    <p:sldId id="339" r:id="rId27"/>
    <p:sldId id="303" r:id="rId28"/>
    <p:sldId id="327" r:id="rId29"/>
    <p:sldId id="336" r:id="rId30"/>
    <p:sldId id="315" r:id="rId31"/>
    <p:sldId id="302" r:id="rId32"/>
    <p:sldId id="304" r:id="rId33"/>
    <p:sldId id="313" r:id="rId34"/>
    <p:sldId id="305" r:id="rId35"/>
    <p:sldId id="340" r:id="rId36"/>
    <p:sldId id="358" r:id="rId37"/>
    <p:sldId id="316" r:id="rId38"/>
    <p:sldId id="307" r:id="rId39"/>
    <p:sldId id="342" r:id="rId40"/>
    <p:sldId id="349" r:id="rId41"/>
    <p:sldId id="343" r:id="rId42"/>
    <p:sldId id="344" r:id="rId43"/>
    <p:sldId id="310" r:id="rId44"/>
    <p:sldId id="347" r:id="rId45"/>
    <p:sldId id="357" r:id="rId46"/>
    <p:sldId id="354" r:id="rId47"/>
    <p:sldId id="353" r:id="rId48"/>
    <p:sldId id="348" r:id="rId49"/>
    <p:sldId id="345" r:id="rId50"/>
    <p:sldId id="346" r:id="rId51"/>
    <p:sldId id="289" r:id="rId52"/>
    <p:sldId id="356" r:id="rId53"/>
    <p:sldId id="311" r:id="rId54"/>
    <p:sldId id="288" r:id="rId55"/>
    <p:sldId id="352" r:id="rId56"/>
    <p:sldId id="355" r:id="rId57"/>
    <p:sldId id="337" r:id="rId58"/>
    <p:sldId id="350" r:id="rId59"/>
    <p:sldId id="351" r:id="rId60"/>
  </p:sldIdLst>
  <p:sldSz cx="9144000" cy="5143500" type="screen16x9"/>
  <p:notesSz cx="6858000" cy="9144000"/>
  <p:custDataLst>
    <p:tags r:id="rId6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troduction" id="{0C4D0387-41AE-CC40-A285-C80CFB8CA99C}">
          <p14:sldIdLst>
            <p14:sldId id="276"/>
            <p14:sldId id="317"/>
            <p14:sldId id="328"/>
            <p14:sldId id="318"/>
            <p14:sldId id="330"/>
            <p14:sldId id="296"/>
            <p14:sldId id="331"/>
            <p14:sldId id="332"/>
            <p14:sldId id="333"/>
            <p14:sldId id="334"/>
            <p14:sldId id="322"/>
            <p14:sldId id="323"/>
            <p14:sldId id="319"/>
            <p14:sldId id="326"/>
            <p14:sldId id="314"/>
            <p14:sldId id="335"/>
            <p14:sldId id="338"/>
            <p14:sldId id="298"/>
          </p14:sldIdLst>
        </p14:section>
        <p14:section name="AOWP" id="{4B28D2B9-5769-C047-8412-84D531A2B35E}">
          <p14:sldIdLst>
            <p14:sldId id="297"/>
            <p14:sldId id="299"/>
            <p14:sldId id="300"/>
            <p14:sldId id="339"/>
            <p14:sldId id="303"/>
            <p14:sldId id="327"/>
            <p14:sldId id="336"/>
            <p14:sldId id="315"/>
            <p14:sldId id="302"/>
            <p14:sldId id="304"/>
            <p14:sldId id="313"/>
            <p14:sldId id="305"/>
            <p14:sldId id="340"/>
            <p14:sldId id="358"/>
            <p14:sldId id="316"/>
          </p14:sldIdLst>
        </p14:section>
        <p14:section name="Credentials" id="{A707E2EB-36B9-994F-8C2E-BF745BA3AD24}">
          <p14:sldIdLst>
            <p14:sldId id="307"/>
            <p14:sldId id="342"/>
            <p14:sldId id="349"/>
            <p14:sldId id="343"/>
            <p14:sldId id="344"/>
            <p14:sldId id="310"/>
            <p14:sldId id="347"/>
            <p14:sldId id="357"/>
            <p14:sldId id="354"/>
            <p14:sldId id="353"/>
            <p14:sldId id="348"/>
            <p14:sldId id="345"/>
            <p14:sldId id="346"/>
          </p14:sldIdLst>
        </p14:section>
        <p14:section name="Appendix" id="{F7603B15-9EAB-4D47-9B89-B892A101864C}">
          <p14:sldIdLst>
            <p14:sldId id="289"/>
            <p14:sldId id="356"/>
            <p14:sldId id="311"/>
            <p14:sldId id="288"/>
          </p14:sldIdLst>
        </p14:section>
        <p14:section name="Appendix 2: Technologies" id="{65E3046E-1130-1543-BC5A-476DA785870F}">
          <p14:sldIdLst>
            <p14:sldId id="352"/>
            <p14:sldId id="355"/>
            <p14:sldId id="337"/>
            <p14:sldId id="350"/>
            <p14:sldId id="35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685">
          <p15:clr>
            <a:srgbClr val="A4A3A4"/>
          </p15:clr>
        </p15:guide>
        <p15:guide id="2" orient="horz" pos="923">
          <p15:clr>
            <a:srgbClr val="A4A3A4"/>
          </p15:clr>
        </p15:guide>
        <p15:guide id="3" orient="horz" pos="3168">
          <p15:clr>
            <a:srgbClr val="A4A3A4"/>
          </p15:clr>
        </p15:guide>
        <p15:guide id="4" orient="horz" pos="497">
          <p15:clr>
            <a:srgbClr val="A4A3A4"/>
          </p15:clr>
        </p15:guide>
        <p15:guide id="5" orient="horz" pos="787">
          <p15:clr>
            <a:srgbClr val="A4A3A4"/>
          </p15:clr>
        </p15:guide>
        <p15:guide id="6" orient="horz" pos="357">
          <p15:clr>
            <a:srgbClr val="A4A3A4"/>
          </p15:clr>
        </p15:guide>
        <p15:guide id="7" orient="horz" pos="3049">
          <p15:clr>
            <a:srgbClr val="A4A3A4"/>
          </p15:clr>
        </p15:guide>
        <p15:guide id="8" pos="2880">
          <p15:clr>
            <a:srgbClr val="A4A3A4"/>
          </p15:clr>
        </p15:guide>
        <p15:guide id="9" pos="295">
          <p15:clr>
            <a:srgbClr val="A4A3A4"/>
          </p15:clr>
        </p15:guide>
        <p15:guide id="10" pos="5465">
          <p15:clr>
            <a:srgbClr val="A4A3A4"/>
          </p15:clr>
        </p15:guide>
        <p15:guide id="11">
          <p15:clr>
            <a:srgbClr val="A4A3A4"/>
          </p15:clr>
        </p15:guide>
        <p15:guide id="12" pos="1655">
          <p15:clr>
            <a:srgbClr val="A4A3A4"/>
          </p15:clr>
        </p15:guide>
        <p15:guide id="13" pos="310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6C09"/>
    <a:srgbClr val="FF6600"/>
    <a:srgbClr val="339966"/>
    <a:srgbClr val="CCFFFF"/>
    <a:srgbClr val="FF3333"/>
    <a:srgbClr val="C91C15"/>
    <a:srgbClr val="B51C15"/>
    <a:srgbClr val="9C1C15"/>
    <a:srgbClr val="741C15"/>
    <a:srgbClr val="E4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32" autoAdjust="0"/>
    <p:restoredTop sz="95688" autoAdjust="0"/>
  </p:normalViewPr>
  <p:slideViewPr>
    <p:cSldViewPr snapToGrid="0" snapToObjects="1" showGuides="1">
      <p:cViewPr>
        <p:scale>
          <a:sx n="135" d="100"/>
          <a:sy n="135" d="100"/>
        </p:scale>
        <p:origin x="-1152" y="-240"/>
      </p:cViewPr>
      <p:guideLst>
        <p:guide orient="horz" pos="685"/>
        <p:guide orient="horz" pos="923"/>
        <p:guide orient="horz" pos="3168"/>
        <p:guide orient="horz" pos="497"/>
        <p:guide orient="horz" pos="787"/>
        <p:guide orient="horz" pos="357"/>
        <p:guide orient="horz" pos="3049"/>
        <p:guide pos="2880"/>
        <p:guide pos="295"/>
        <p:guide pos="5465"/>
        <p:guide/>
        <p:guide pos="1655"/>
        <p:guide pos="31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-188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63" Type="http://schemas.openxmlformats.org/officeDocument/2006/relationships/printerSettings" Target="printerSettings/printerSettings1.bin"/><Relationship Id="rId64" Type="http://schemas.openxmlformats.org/officeDocument/2006/relationships/tags" Target="tags/tag1.xml"/><Relationship Id="rId65" Type="http://schemas.openxmlformats.org/officeDocument/2006/relationships/presProps" Target="presProps.xml"/><Relationship Id="rId66" Type="http://schemas.openxmlformats.org/officeDocument/2006/relationships/viewProps" Target="viewProps.xml"/><Relationship Id="rId67" Type="http://schemas.openxmlformats.org/officeDocument/2006/relationships/theme" Target="theme/theme1.xml"/><Relationship Id="rId68" Type="http://schemas.openxmlformats.org/officeDocument/2006/relationships/tableStyles" Target="tableStyles.xml"/><Relationship Id="rId50" Type="http://schemas.openxmlformats.org/officeDocument/2006/relationships/slide" Target="slides/slide45.xml"/><Relationship Id="rId51" Type="http://schemas.openxmlformats.org/officeDocument/2006/relationships/slide" Target="slides/slide46.xml"/><Relationship Id="rId52" Type="http://schemas.openxmlformats.org/officeDocument/2006/relationships/slide" Target="slides/slide47.xml"/><Relationship Id="rId53" Type="http://schemas.openxmlformats.org/officeDocument/2006/relationships/slide" Target="slides/slide48.xml"/><Relationship Id="rId54" Type="http://schemas.openxmlformats.org/officeDocument/2006/relationships/slide" Target="slides/slide49.xml"/><Relationship Id="rId55" Type="http://schemas.openxmlformats.org/officeDocument/2006/relationships/slide" Target="slides/slide50.xml"/><Relationship Id="rId56" Type="http://schemas.openxmlformats.org/officeDocument/2006/relationships/slide" Target="slides/slide51.xml"/><Relationship Id="rId57" Type="http://schemas.openxmlformats.org/officeDocument/2006/relationships/slide" Target="slides/slide52.xml"/><Relationship Id="rId58" Type="http://schemas.openxmlformats.org/officeDocument/2006/relationships/slide" Target="slides/slide53.xml"/><Relationship Id="rId59" Type="http://schemas.openxmlformats.org/officeDocument/2006/relationships/slide" Target="slides/slide54.xml"/><Relationship Id="rId40" Type="http://schemas.openxmlformats.org/officeDocument/2006/relationships/slide" Target="slides/slide35.xml"/><Relationship Id="rId41" Type="http://schemas.openxmlformats.org/officeDocument/2006/relationships/slide" Target="slides/slide36.xml"/><Relationship Id="rId42" Type="http://schemas.openxmlformats.org/officeDocument/2006/relationships/slide" Target="slides/slide37.xml"/><Relationship Id="rId43" Type="http://schemas.openxmlformats.org/officeDocument/2006/relationships/slide" Target="slides/slide38.xml"/><Relationship Id="rId44" Type="http://schemas.openxmlformats.org/officeDocument/2006/relationships/slide" Target="slides/slide39.xml"/><Relationship Id="rId45" Type="http://schemas.openxmlformats.org/officeDocument/2006/relationships/slide" Target="slides/slide40.xml"/><Relationship Id="rId46" Type="http://schemas.openxmlformats.org/officeDocument/2006/relationships/slide" Target="slides/slide41.xml"/><Relationship Id="rId47" Type="http://schemas.openxmlformats.org/officeDocument/2006/relationships/slide" Target="slides/slide42.xml"/><Relationship Id="rId48" Type="http://schemas.openxmlformats.org/officeDocument/2006/relationships/slide" Target="slides/slide43.xml"/><Relationship Id="rId49" Type="http://schemas.openxmlformats.org/officeDocument/2006/relationships/slide" Target="slides/slide4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33" Type="http://schemas.openxmlformats.org/officeDocument/2006/relationships/slide" Target="slides/slide28.xml"/><Relationship Id="rId34" Type="http://schemas.openxmlformats.org/officeDocument/2006/relationships/slide" Target="slides/slide29.xml"/><Relationship Id="rId35" Type="http://schemas.openxmlformats.org/officeDocument/2006/relationships/slide" Target="slides/slide30.xml"/><Relationship Id="rId36" Type="http://schemas.openxmlformats.org/officeDocument/2006/relationships/slide" Target="slides/slide31.xml"/><Relationship Id="rId37" Type="http://schemas.openxmlformats.org/officeDocument/2006/relationships/slide" Target="slides/slide32.xml"/><Relationship Id="rId38" Type="http://schemas.openxmlformats.org/officeDocument/2006/relationships/slide" Target="slides/slide33.xml"/><Relationship Id="rId39" Type="http://schemas.openxmlformats.org/officeDocument/2006/relationships/slide" Target="slides/slide34.xml"/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60" Type="http://schemas.openxmlformats.org/officeDocument/2006/relationships/slide" Target="slides/slide55.xml"/><Relationship Id="rId61" Type="http://schemas.openxmlformats.org/officeDocument/2006/relationships/notesMaster" Target="notesMasters/notesMaster1.xml"/><Relationship Id="rId62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099D122-FF5B-4502-B223-6A9906FF06F4}" type="doc">
      <dgm:prSet loTypeId="urn:microsoft.com/office/officeart/2005/8/layout/chevron1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1C6A32F6-A92B-4EA4-92ED-9F5E343933CD}">
      <dgm:prSet phldrT="[Text]"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r>
            <a:rPr lang="en-US" dirty="0" smtClean="0">
              <a:latin typeface="Avenir Next Regular"/>
              <a:cs typeface="Avenir Next Regular"/>
            </a:rPr>
            <a:t>Creative</a:t>
          </a:r>
          <a:endParaRPr lang="en-US" dirty="0">
            <a:latin typeface="Avenir Next Regular"/>
            <a:cs typeface="Avenir Next Regular"/>
          </a:endParaRPr>
        </a:p>
      </dgm:t>
    </dgm:pt>
    <dgm:pt modelId="{AB92B003-5E16-4EE1-A5D1-537D238D5407}" type="parTrans" cxnId="{D6241425-669D-43FB-8C1D-73313014ED1C}">
      <dgm:prSet/>
      <dgm:spPr/>
      <dgm:t>
        <a:bodyPr/>
        <a:lstStyle/>
        <a:p>
          <a:endParaRPr lang="en-US"/>
        </a:p>
      </dgm:t>
    </dgm:pt>
    <dgm:pt modelId="{E8963ED3-72C5-4235-A40E-763922289A61}" type="sibTrans" cxnId="{D6241425-669D-43FB-8C1D-73313014ED1C}">
      <dgm:prSet/>
      <dgm:spPr/>
      <dgm:t>
        <a:bodyPr/>
        <a:lstStyle/>
        <a:p>
          <a:endParaRPr lang="en-US"/>
        </a:p>
      </dgm:t>
    </dgm:pt>
    <dgm:pt modelId="{DD47E0D7-31F2-4DF8-80EE-06AAF0EC16A8}">
      <dgm:prSet phldrT="[Text]"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r>
            <a:rPr lang="en-US" dirty="0" smtClean="0">
              <a:latin typeface="Avenir Next Regular"/>
              <a:cs typeface="Avenir Next Regular"/>
            </a:rPr>
            <a:t>Front End Dev</a:t>
          </a:r>
          <a:endParaRPr lang="en-US" dirty="0">
            <a:latin typeface="Avenir Next Regular"/>
            <a:cs typeface="Avenir Next Regular"/>
          </a:endParaRPr>
        </a:p>
      </dgm:t>
    </dgm:pt>
    <dgm:pt modelId="{F6B840D4-5644-4BCE-BDE1-64E06D922E03}" type="parTrans" cxnId="{3C1A15C6-178E-4192-B81F-8EE22292FCDE}">
      <dgm:prSet/>
      <dgm:spPr/>
      <dgm:t>
        <a:bodyPr/>
        <a:lstStyle/>
        <a:p>
          <a:endParaRPr lang="en-US"/>
        </a:p>
      </dgm:t>
    </dgm:pt>
    <dgm:pt modelId="{16355B75-AF67-4654-84FF-C6E7DBD1C2D0}" type="sibTrans" cxnId="{3C1A15C6-178E-4192-B81F-8EE22292FCDE}">
      <dgm:prSet/>
      <dgm:spPr/>
      <dgm:t>
        <a:bodyPr/>
        <a:lstStyle/>
        <a:p>
          <a:endParaRPr lang="en-US"/>
        </a:p>
      </dgm:t>
    </dgm:pt>
    <dgm:pt modelId="{4830C8E9-50B7-4F4B-8C26-BD59AD30B7B3}">
      <dgm:prSet phldrT="[Text]"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r>
            <a:rPr lang="en-US" dirty="0" smtClean="0">
              <a:latin typeface="Avenir Next Regular"/>
              <a:cs typeface="Avenir Next Regular"/>
            </a:rPr>
            <a:t>Back End Dev</a:t>
          </a:r>
          <a:endParaRPr lang="en-US" dirty="0">
            <a:latin typeface="Avenir Next Regular"/>
            <a:cs typeface="Avenir Next Regular"/>
          </a:endParaRPr>
        </a:p>
      </dgm:t>
    </dgm:pt>
    <dgm:pt modelId="{BE89251D-7A3C-46E9-8003-F03F2D340EA4}" type="parTrans" cxnId="{BABC5A99-F4A1-495A-977B-250068A78979}">
      <dgm:prSet/>
      <dgm:spPr/>
      <dgm:t>
        <a:bodyPr/>
        <a:lstStyle/>
        <a:p>
          <a:endParaRPr lang="en-US"/>
        </a:p>
      </dgm:t>
    </dgm:pt>
    <dgm:pt modelId="{BD2D842D-7C86-41B5-B1E2-BCA3D12D7091}" type="sibTrans" cxnId="{BABC5A99-F4A1-495A-977B-250068A78979}">
      <dgm:prSet/>
      <dgm:spPr/>
      <dgm:t>
        <a:bodyPr/>
        <a:lstStyle/>
        <a:p>
          <a:endParaRPr lang="en-US"/>
        </a:p>
      </dgm:t>
    </dgm:pt>
    <dgm:pt modelId="{4050BAE8-C8D5-49DD-80EF-C50A2260E946}">
      <dgm:prSet phldrT="[Text]"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r>
            <a:rPr lang="en-US" dirty="0" smtClean="0">
              <a:latin typeface="Avenir Next Regular"/>
              <a:cs typeface="Avenir Next Regular"/>
            </a:rPr>
            <a:t>QA</a:t>
          </a:r>
          <a:endParaRPr lang="en-US" dirty="0">
            <a:latin typeface="Avenir Next Regular"/>
            <a:cs typeface="Avenir Next Regular"/>
          </a:endParaRPr>
        </a:p>
      </dgm:t>
    </dgm:pt>
    <dgm:pt modelId="{6B1E5E4E-EB1C-4C3E-BFC0-6C5F3233F38B}" type="parTrans" cxnId="{E7D76D81-BA1F-48C5-A476-E3C105431D46}">
      <dgm:prSet/>
      <dgm:spPr/>
      <dgm:t>
        <a:bodyPr/>
        <a:lstStyle/>
        <a:p>
          <a:endParaRPr lang="en-US"/>
        </a:p>
      </dgm:t>
    </dgm:pt>
    <dgm:pt modelId="{DDBD240B-7ED5-4792-9063-BD3B1051E92F}" type="sibTrans" cxnId="{E7D76D81-BA1F-48C5-A476-E3C105431D46}">
      <dgm:prSet/>
      <dgm:spPr/>
      <dgm:t>
        <a:bodyPr/>
        <a:lstStyle/>
        <a:p>
          <a:endParaRPr lang="en-US"/>
        </a:p>
      </dgm:t>
    </dgm:pt>
    <dgm:pt modelId="{504ADD41-120F-480B-82CF-704C217E2839}">
      <dgm:prSet phldrT="[Text]"/>
      <dgm:spPr>
        <a:solidFill>
          <a:schemeClr val="bg1">
            <a:lumMod val="65000"/>
          </a:schemeClr>
        </a:solidFill>
        <a:ln>
          <a:solidFill>
            <a:srgbClr val="FF3333"/>
          </a:solidFill>
        </a:ln>
      </dgm:spPr>
      <dgm:t>
        <a:bodyPr/>
        <a:lstStyle/>
        <a:p>
          <a:r>
            <a:rPr lang="en-US" dirty="0" smtClean="0">
              <a:latin typeface="Avenir Next Regular"/>
              <a:cs typeface="Avenir Next Regular"/>
            </a:rPr>
            <a:t>User Stories</a:t>
          </a:r>
          <a:endParaRPr lang="en-US" dirty="0">
            <a:latin typeface="Avenir Next Regular"/>
            <a:cs typeface="Avenir Next Regular"/>
          </a:endParaRPr>
        </a:p>
      </dgm:t>
    </dgm:pt>
    <dgm:pt modelId="{E612021F-1147-4166-BDDE-258934B16782}" type="parTrans" cxnId="{D533BC37-9F76-4D63-9B23-D9E7FB454539}">
      <dgm:prSet/>
      <dgm:spPr/>
      <dgm:t>
        <a:bodyPr/>
        <a:lstStyle/>
        <a:p>
          <a:endParaRPr lang="en-US"/>
        </a:p>
      </dgm:t>
    </dgm:pt>
    <dgm:pt modelId="{4F66E29D-EDF8-44C0-B734-1DA74A233C8A}" type="sibTrans" cxnId="{D533BC37-9F76-4D63-9B23-D9E7FB454539}">
      <dgm:prSet/>
      <dgm:spPr/>
      <dgm:t>
        <a:bodyPr/>
        <a:lstStyle/>
        <a:p>
          <a:endParaRPr lang="en-US"/>
        </a:p>
      </dgm:t>
    </dgm:pt>
    <dgm:pt modelId="{D5198E5B-9718-4402-BCDC-85470672CC00}" type="pres">
      <dgm:prSet presAssocID="{E099D122-FF5B-4502-B223-6A9906FF06F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B6DBB35-0416-43C6-A864-184522659468}" type="pres">
      <dgm:prSet presAssocID="{504ADD41-120F-480B-82CF-704C217E2839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A44A55-9A06-4B2F-B81D-98E75505D4FB}" type="pres">
      <dgm:prSet presAssocID="{4F66E29D-EDF8-44C0-B734-1DA74A233C8A}" presName="parTxOnlySpace" presStyleCnt="0"/>
      <dgm:spPr/>
    </dgm:pt>
    <dgm:pt modelId="{6FC4CCB3-5FD3-47BF-AA14-9CD977E994A5}" type="pres">
      <dgm:prSet presAssocID="{1C6A32F6-A92B-4EA4-92ED-9F5E343933CD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B6A009-45F9-487D-A559-FE956D3A335E}" type="pres">
      <dgm:prSet presAssocID="{E8963ED3-72C5-4235-A40E-763922289A61}" presName="parTxOnlySpace" presStyleCnt="0"/>
      <dgm:spPr/>
    </dgm:pt>
    <dgm:pt modelId="{08960EF9-C75D-4F05-BA47-FBAF02B69609}" type="pres">
      <dgm:prSet presAssocID="{DD47E0D7-31F2-4DF8-80EE-06AAF0EC16A8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3915A7-C8E7-4F47-A159-369B7E50BBD0}" type="pres">
      <dgm:prSet presAssocID="{16355B75-AF67-4654-84FF-C6E7DBD1C2D0}" presName="parTxOnlySpace" presStyleCnt="0"/>
      <dgm:spPr/>
    </dgm:pt>
    <dgm:pt modelId="{59A97CB0-8779-4FC1-A1F5-CDAD44B62C5F}" type="pres">
      <dgm:prSet presAssocID="{4830C8E9-50B7-4F4B-8C26-BD59AD30B7B3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199EE7-B8F0-4139-B2CB-348A35FB991A}" type="pres">
      <dgm:prSet presAssocID="{BD2D842D-7C86-41B5-B1E2-BCA3D12D7091}" presName="parTxOnlySpace" presStyleCnt="0"/>
      <dgm:spPr/>
    </dgm:pt>
    <dgm:pt modelId="{79C190BC-8682-456F-AFBB-6E5B06A1B3BC}" type="pres">
      <dgm:prSet presAssocID="{4050BAE8-C8D5-49DD-80EF-C50A2260E94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DAA7A05-B700-CA41-806C-6C81B837BD4B}" type="presOf" srcId="{E099D122-FF5B-4502-B223-6A9906FF06F4}" destId="{D5198E5B-9718-4402-BCDC-85470672CC00}" srcOrd="0" destOrd="0" presId="urn:microsoft.com/office/officeart/2005/8/layout/chevron1"/>
    <dgm:cxn modelId="{A0041AF8-07C5-A04A-AC76-1F37D50BB99E}" type="presOf" srcId="{4050BAE8-C8D5-49DD-80EF-C50A2260E946}" destId="{79C190BC-8682-456F-AFBB-6E5B06A1B3BC}" srcOrd="0" destOrd="0" presId="urn:microsoft.com/office/officeart/2005/8/layout/chevron1"/>
    <dgm:cxn modelId="{497EE5A0-12D9-EB4D-A984-4507A9AD509E}" type="presOf" srcId="{DD47E0D7-31F2-4DF8-80EE-06AAF0EC16A8}" destId="{08960EF9-C75D-4F05-BA47-FBAF02B69609}" srcOrd="0" destOrd="0" presId="urn:microsoft.com/office/officeart/2005/8/layout/chevron1"/>
    <dgm:cxn modelId="{B2EEFE81-A2F1-1C44-B583-8F0659386B8A}" type="presOf" srcId="{1C6A32F6-A92B-4EA4-92ED-9F5E343933CD}" destId="{6FC4CCB3-5FD3-47BF-AA14-9CD977E994A5}" srcOrd="0" destOrd="0" presId="urn:microsoft.com/office/officeart/2005/8/layout/chevron1"/>
    <dgm:cxn modelId="{BABC5A99-F4A1-495A-977B-250068A78979}" srcId="{E099D122-FF5B-4502-B223-6A9906FF06F4}" destId="{4830C8E9-50B7-4F4B-8C26-BD59AD30B7B3}" srcOrd="3" destOrd="0" parTransId="{BE89251D-7A3C-46E9-8003-F03F2D340EA4}" sibTransId="{BD2D842D-7C86-41B5-B1E2-BCA3D12D7091}"/>
    <dgm:cxn modelId="{081846FC-F7D7-A943-B609-960658DE5C9C}" type="presOf" srcId="{504ADD41-120F-480B-82CF-704C217E2839}" destId="{5B6DBB35-0416-43C6-A864-184522659468}" srcOrd="0" destOrd="0" presId="urn:microsoft.com/office/officeart/2005/8/layout/chevron1"/>
    <dgm:cxn modelId="{D6241425-669D-43FB-8C1D-73313014ED1C}" srcId="{E099D122-FF5B-4502-B223-6A9906FF06F4}" destId="{1C6A32F6-A92B-4EA4-92ED-9F5E343933CD}" srcOrd="1" destOrd="0" parTransId="{AB92B003-5E16-4EE1-A5D1-537D238D5407}" sibTransId="{E8963ED3-72C5-4235-A40E-763922289A61}"/>
    <dgm:cxn modelId="{D533BC37-9F76-4D63-9B23-D9E7FB454539}" srcId="{E099D122-FF5B-4502-B223-6A9906FF06F4}" destId="{504ADD41-120F-480B-82CF-704C217E2839}" srcOrd="0" destOrd="0" parTransId="{E612021F-1147-4166-BDDE-258934B16782}" sibTransId="{4F66E29D-EDF8-44C0-B734-1DA74A233C8A}"/>
    <dgm:cxn modelId="{A9AC5637-A650-064E-8D11-6FEBCDB2B6D3}" type="presOf" srcId="{4830C8E9-50B7-4F4B-8C26-BD59AD30B7B3}" destId="{59A97CB0-8779-4FC1-A1F5-CDAD44B62C5F}" srcOrd="0" destOrd="0" presId="urn:microsoft.com/office/officeart/2005/8/layout/chevron1"/>
    <dgm:cxn modelId="{3C1A15C6-178E-4192-B81F-8EE22292FCDE}" srcId="{E099D122-FF5B-4502-B223-6A9906FF06F4}" destId="{DD47E0D7-31F2-4DF8-80EE-06AAF0EC16A8}" srcOrd="2" destOrd="0" parTransId="{F6B840D4-5644-4BCE-BDE1-64E06D922E03}" sibTransId="{16355B75-AF67-4654-84FF-C6E7DBD1C2D0}"/>
    <dgm:cxn modelId="{E7D76D81-BA1F-48C5-A476-E3C105431D46}" srcId="{E099D122-FF5B-4502-B223-6A9906FF06F4}" destId="{4050BAE8-C8D5-49DD-80EF-C50A2260E946}" srcOrd="4" destOrd="0" parTransId="{6B1E5E4E-EB1C-4C3E-BFC0-6C5F3233F38B}" sibTransId="{DDBD240B-7ED5-4792-9063-BD3B1051E92F}"/>
    <dgm:cxn modelId="{2D579F5D-DDD1-8A42-AF47-349EA16EBCCB}" type="presParOf" srcId="{D5198E5B-9718-4402-BCDC-85470672CC00}" destId="{5B6DBB35-0416-43C6-A864-184522659468}" srcOrd="0" destOrd="0" presId="urn:microsoft.com/office/officeart/2005/8/layout/chevron1"/>
    <dgm:cxn modelId="{4BD17ECF-8478-2B4F-A8F7-2752CDEC47AB}" type="presParOf" srcId="{D5198E5B-9718-4402-BCDC-85470672CC00}" destId="{C3A44A55-9A06-4B2F-B81D-98E75505D4FB}" srcOrd="1" destOrd="0" presId="urn:microsoft.com/office/officeart/2005/8/layout/chevron1"/>
    <dgm:cxn modelId="{E3E40C5A-6F46-C143-B616-3237029627C0}" type="presParOf" srcId="{D5198E5B-9718-4402-BCDC-85470672CC00}" destId="{6FC4CCB3-5FD3-47BF-AA14-9CD977E994A5}" srcOrd="2" destOrd="0" presId="urn:microsoft.com/office/officeart/2005/8/layout/chevron1"/>
    <dgm:cxn modelId="{3CF3069F-D8DC-7D42-980B-796BB1C33033}" type="presParOf" srcId="{D5198E5B-9718-4402-BCDC-85470672CC00}" destId="{C2B6A009-45F9-487D-A559-FE956D3A335E}" srcOrd="3" destOrd="0" presId="urn:microsoft.com/office/officeart/2005/8/layout/chevron1"/>
    <dgm:cxn modelId="{BB88ED43-210B-8E46-A4C9-56F31B0DB073}" type="presParOf" srcId="{D5198E5B-9718-4402-BCDC-85470672CC00}" destId="{08960EF9-C75D-4F05-BA47-FBAF02B69609}" srcOrd="4" destOrd="0" presId="urn:microsoft.com/office/officeart/2005/8/layout/chevron1"/>
    <dgm:cxn modelId="{E2800FB5-DE9B-F043-AFB2-A3122D3517F0}" type="presParOf" srcId="{D5198E5B-9718-4402-BCDC-85470672CC00}" destId="{523915A7-C8E7-4F47-A159-369B7E50BBD0}" srcOrd="5" destOrd="0" presId="urn:microsoft.com/office/officeart/2005/8/layout/chevron1"/>
    <dgm:cxn modelId="{A8EA225E-6D99-E444-B4CF-FE8FC3F603BA}" type="presParOf" srcId="{D5198E5B-9718-4402-BCDC-85470672CC00}" destId="{59A97CB0-8779-4FC1-A1F5-CDAD44B62C5F}" srcOrd="6" destOrd="0" presId="urn:microsoft.com/office/officeart/2005/8/layout/chevron1"/>
    <dgm:cxn modelId="{FF6FAE24-EBC0-B94D-BFD1-26D9589A3142}" type="presParOf" srcId="{D5198E5B-9718-4402-BCDC-85470672CC00}" destId="{91199EE7-B8F0-4139-B2CB-348A35FB991A}" srcOrd="7" destOrd="0" presId="urn:microsoft.com/office/officeart/2005/8/layout/chevron1"/>
    <dgm:cxn modelId="{87470317-9E5A-BC47-9EB4-1398974AB237}" type="presParOf" srcId="{D5198E5B-9718-4402-BCDC-85470672CC00}" destId="{79C190BC-8682-456F-AFBB-6E5B06A1B3BC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9002709-10CA-4D46-B069-DAA7F3E128A8}" type="doc">
      <dgm:prSet loTypeId="urn:microsoft.com/office/officeart/2005/8/layout/cycle1" loCatId="cycle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CF4D9181-77ED-4A34-95D8-E641E6608AF4}">
      <dgm:prSet phldrT="[Text]" custT="1"/>
      <dgm:spPr/>
      <dgm:t>
        <a:bodyPr/>
        <a:lstStyle/>
        <a:p>
          <a:r>
            <a:rPr lang="en-US" sz="1200" dirty="0" smtClean="0"/>
            <a:t>Client/API Development</a:t>
          </a:r>
          <a:endParaRPr lang="en-US" sz="1200" dirty="0"/>
        </a:p>
      </dgm:t>
    </dgm:pt>
    <dgm:pt modelId="{AF8F99CD-2CD0-4124-A9EE-BFCE61B97269}" type="parTrans" cxnId="{2A76A8C4-7963-4689-A8AE-167302F39F82}">
      <dgm:prSet/>
      <dgm:spPr/>
      <dgm:t>
        <a:bodyPr/>
        <a:lstStyle/>
        <a:p>
          <a:endParaRPr lang="en-US" sz="1200"/>
        </a:p>
      </dgm:t>
    </dgm:pt>
    <dgm:pt modelId="{F156536D-1FC8-4DC0-9F29-087B248EF1CB}" type="sibTrans" cxnId="{2A76A8C4-7963-4689-A8AE-167302F39F82}">
      <dgm:prSet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endParaRPr lang="en-US" sz="1200">
            <a:solidFill>
              <a:srgbClr val="00A000"/>
            </a:solidFill>
          </a:endParaRPr>
        </a:p>
      </dgm:t>
    </dgm:pt>
    <dgm:pt modelId="{F070DC3D-DA7F-4841-8DE1-D2BA56714AAD}">
      <dgm:prSet phldrT="[Text]" custT="1"/>
      <dgm:spPr/>
      <dgm:t>
        <a:bodyPr/>
        <a:lstStyle/>
        <a:p>
          <a:r>
            <a:rPr lang="en-US" sz="1400" smtClean="0"/>
            <a:t>QA</a:t>
          </a:r>
          <a:endParaRPr lang="en-US" sz="1400" dirty="0"/>
        </a:p>
      </dgm:t>
    </dgm:pt>
    <dgm:pt modelId="{68B0A83B-9F18-4366-82AD-BB9ACDF024A1}" type="parTrans" cxnId="{3B73DB7F-403C-4AB1-B088-1B2C2DF44500}">
      <dgm:prSet/>
      <dgm:spPr/>
      <dgm:t>
        <a:bodyPr/>
        <a:lstStyle/>
        <a:p>
          <a:endParaRPr lang="en-US" sz="1200"/>
        </a:p>
      </dgm:t>
    </dgm:pt>
    <dgm:pt modelId="{846B17D4-DD43-47C5-8D60-5913941B95DC}" type="sibTrans" cxnId="{3B73DB7F-403C-4AB1-B088-1B2C2DF44500}">
      <dgm:prSet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endParaRPr lang="en-US" sz="1200">
            <a:solidFill>
              <a:srgbClr val="00A000"/>
            </a:solidFill>
          </a:endParaRPr>
        </a:p>
      </dgm:t>
    </dgm:pt>
    <dgm:pt modelId="{07F34C5E-BC5C-45A3-84FF-F235CBD37B96}">
      <dgm:prSet phldrT="[Text]" custT="1"/>
      <dgm:spPr/>
      <dgm:t>
        <a:bodyPr/>
        <a:lstStyle/>
        <a:p>
          <a:r>
            <a:rPr lang="en-US" sz="1400" smtClean="0"/>
            <a:t>User    Stories</a:t>
          </a:r>
          <a:endParaRPr lang="en-US" sz="1400" dirty="0"/>
        </a:p>
      </dgm:t>
    </dgm:pt>
    <dgm:pt modelId="{1D81B606-34EA-41C1-B00D-946724B0B361}" type="parTrans" cxnId="{10D8F6DD-8982-49B7-8486-40B4ED237B0A}">
      <dgm:prSet/>
      <dgm:spPr/>
      <dgm:t>
        <a:bodyPr/>
        <a:lstStyle/>
        <a:p>
          <a:endParaRPr lang="en-US" sz="1200"/>
        </a:p>
      </dgm:t>
    </dgm:pt>
    <dgm:pt modelId="{FF5E8282-5C99-4085-B948-D4AF81A914A1}" type="sibTrans" cxnId="{10D8F6DD-8982-49B7-8486-40B4ED237B0A}">
      <dgm:prSet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endParaRPr lang="en-US" sz="1200">
            <a:solidFill>
              <a:srgbClr val="00A000"/>
            </a:solidFill>
          </a:endParaRPr>
        </a:p>
      </dgm:t>
    </dgm:pt>
    <dgm:pt modelId="{3EB97758-4D3E-4177-9C4E-4770067BE8E2}">
      <dgm:prSet phldrT="[Text]" custT="1"/>
      <dgm:spPr/>
      <dgm:t>
        <a:bodyPr/>
        <a:lstStyle/>
        <a:p>
          <a:r>
            <a:rPr lang="en-US" sz="1400" dirty="0" smtClean="0"/>
            <a:t>UX / Creative</a:t>
          </a:r>
          <a:endParaRPr lang="en-US" sz="1400" dirty="0"/>
        </a:p>
      </dgm:t>
    </dgm:pt>
    <dgm:pt modelId="{0AC6334C-036B-45A0-BF3C-7862E9901481}" type="parTrans" cxnId="{1EE533F4-5B4F-48A4-957A-13102A4629D7}">
      <dgm:prSet/>
      <dgm:spPr/>
      <dgm:t>
        <a:bodyPr/>
        <a:lstStyle/>
        <a:p>
          <a:endParaRPr lang="en-US" sz="1200"/>
        </a:p>
      </dgm:t>
    </dgm:pt>
    <dgm:pt modelId="{91D11E8B-DBD7-4E2C-BEC3-2595BFE05E7A}" type="sibTrans" cxnId="{1EE533F4-5B4F-48A4-957A-13102A4629D7}">
      <dgm:prSet/>
      <dgm:spPr>
        <a:solidFill>
          <a:srgbClr val="A6A6A6"/>
        </a:solidFill>
        <a:ln>
          <a:solidFill>
            <a:srgbClr val="FF3333"/>
          </a:solidFill>
        </a:ln>
      </dgm:spPr>
      <dgm:t>
        <a:bodyPr/>
        <a:lstStyle/>
        <a:p>
          <a:endParaRPr lang="en-US" sz="1200">
            <a:solidFill>
              <a:srgbClr val="00A000"/>
            </a:solidFill>
          </a:endParaRPr>
        </a:p>
      </dgm:t>
    </dgm:pt>
    <dgm:pt modelId="{3843E548-0BED-4EEE-B01A-A388117614B1}" type="pres">
      <dgm:prSet presAssocID="{B9002709-10CA-4D46-B069-DAA7F3E128A8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7B70F94-E945-456F-B8BD-6B044EC0F615}" type="pres">
      <dgm:prSet presAssocID="{CF4D9181-77ED-4A34-95D8-E641E6608AF4}" presName="dummy" presStyleCnt="0"/>
      <dgm:spPr/>
      <dgm:t>
        <a:bodyPr/>
        <a:lstStyle/>
        <a:p>
          <a:endParaRPr lang="en-US"/>
        </a:p>
      </dgm:t>
    </dgm:pt>
    <dgm:pt modelId="{74F4782C-5D80-40CB-A244-DE3EB9ADD11A}" type="pres">
      <dgm:prSet presAssocID="{CF4D9181-77ED-4A34-95D8-E641E6608AF4}" presName="node" presStyleLbl="revTx" presStyleIdx="0" presStyleCnt="4" custAng="292630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4E2A7F-B065-4717-84A1-79E1DF6DF0FA}" type="pres">
      <dgm:prSet presAssocID="{F156536D-1FC8-4DC0-9F29-087B248EF1CB}" presName="sibTrans" presStyleLbl="node1" presStyleIdx="0" presStyleCnt="4"/>
      <dgm:spPr/>
      <dgm:t>
        <a:bodyPr/>
        <a:lstStyle/>
        <a:p>
          <a:endParaRPr lang="en-US"/>
        </a:p>
      </dgm:t>
    </dgm:pt>
    <dgm:pt modelId="{1EC014DD-5815-4A3C-AF1F-A478D57A266C}" type="pres">
      <dgm:prSet presAssocID="{F070DC3D-DA7F-4841-8DE1-D2BA56714AAD}" presName="dummy" presStyleCnt="0"/>
      <dgm:spPr/>
      <dgm:t>
        <a:bodyPr/>
        <a:lstStyle/>
        <a:p>
          <a:endParaRPr lang="en-US"/>
        </a:p>
      </dgm:t>
    </dgm:pt>
    <dgm:pt modelId="{3DBE10A1-9584-47AE-9FB3-0CF1D85CDFBF}" type="pres">
      <dgm:prSet presAssocID="{F070DC3D-DA7F-4841-8DE1-D2BA56714AAD}" presName="node" presStyleLbl="revTx" presStyleIdx="1" presStyleCnt="4" custAng="192720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31A1E6-A1FC-4109-96A9-735DFDE95D24}" type="pres">
      <dgm:prSet presAssocID="{846B17D4-DD43-47C5-8D60-5913941B95DC}" presName="sibTrans" presStyleLbl="node1" presStyleIdx="1" presStyleCnt="4"/>
      <dgm:spPr/>
      <dgm:t>
        <a:bodyPr/>
        <a:lstStyle/>
        <a:p>
          <a:endParaRPr lang="en-US"/>
        </a:p>
      </dgm:t>
    </dgm:pt>
    <dgm:pt modelId="{26E1D232-46BA-49B4-AE78-85BC1D42FCE3}" type="pres">
      <dgm:prSet presAssocID="{07F34C5E-BC5C-45A3-84FF-F235CBD37B96}" presName="dummy" presStyleCnt="0"/>
      <dgm:spPr/>
      <dgm:t>
        <a:bodyPr/>
        <a:lstStyle/>
        <a:p>
          <a:endParaRPr lang="en-US"/>
        </a:p>
      </dgm:t>
    </dgm:pt>
    <dgm:pt modelId="{ECAE3E47-17F2-4E28-B0CD-BE0284B2B2F5}" type="pres">
      <dgm:prSet presAssocID="{07F34C5E-BC5C-45A3-84FF-F235CBD37B96}" presName="node" presStyleLbl="revTx" presStyleIdx="2" presStyleCnt="4" custAng="24974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570CD0-5D66-46D5-97B4-4482343F1441}" type="pres">
      <dgm:prSet presAssocID="{FF5E8282-5C99-4085-B948-D4AF81A914A1}" presName="sibTrans" presStyleLbl="node1" presStyleIdx="2" presStyleCnt="4"/>
      <dgm:spPr/>
      <dgm:t>
        <a:bodyPr/>
        <a:lstStyle/>
        <a:p>
          <a:endParaRPr lang="en-US"/>
        </a:p>
      </dgm:t>
    </dgm:pt>
    <dgm:pt modelId="{A6D0D2F6-F15F-4DF2-A12D-67C954FB8992}" type="pres">
      <dgm:prSet presAssocID="{3EB97758-4D3E-4177-9C4E-4770067BE8E2}" presName="dummy" presStyleCnt="0"/>
      <dgm:spPr/>
      <dgm:t>
        <a:bodyPr/>
        <a:lstStyle/>
        <a:p>
          <a:endParaRPr lang="en-US"/>
        </a:p>
      </dgm:t>
    </dgm:pt>
    <dgm:pt modelId="{66D05B13-A505-4F52-B1BE-C415B819A1FB}" type="pres">
      <dgm:prSet presAssocID="{3EB97758-4D3E-4177-9C4E-4770067BE8E2}" presName="node" presStyleLbl="revTx" presStyleIdx="3" presStyleCnt="4" custAng="18708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EC0269-CA4B-49E3-904C-7907C75F0014}" type="pres">
      <dgm:prSet presAssocID="{91D11E8B-DBD7-4E2C-BEC3-2595BFE05E7A}" presName="sibTrans" presStyleLbl="node1" presStyleIdx="3" presStyleCnt="4"/>
      <dgm:spPr/>
      <dgm:t>
        <a:bodyPr/>
        <a:lstStyle/>
        <a:p>
          <a:endParaRPr lang="en-US"/>
        </a:p>
      </dgm:t>
    </dgm:pt>
  </dgm:ptLst>
  <dgm:cxnLst>
    <dgm:cxn modelId="{1EE533F4-5B4F-48A4-957A-13102A4629D7}" srcId="{B9002709-10CA-4D46-B069-DAA7F3E128A8}" destId="{3EB97758-4D3E-4177-9C4E-4770067BE8E2}" srcOrd="3" destOrd="0" parTransId="{0AC6334C-036B-45A0-BF3C-7862E9901481}" sibTransId="{91D11E8B-DBD7-4E2C-BEC3-2595BFE05E7A}"/>
    <dgm:cxn modelId="{929BA3CB-0D57-7744-BBFE-78126BE073DB}" type="presOf" srcId="{F156536D-1FC8-4DC0-9F29-087B248EF1CB}" destId="{CF4E2A7F-B065-4717-84A1-79E1DF6DF0FA}" srcOrd="0" destOrd="0" presId="urn:microsoft.com/office/officeart/2005/8/layout/cycle1"/>
    <dgm:cxn modelId="{AC164A7A-B9B2-2E48-9C5A-CC49265F2CB3}" type="presOf" srcId="{FF5E8282-5C99-4085-B948-D4AF81A914A1}" destId="{8F570CD0-5D66-46D5-97B4-4482343F1441}" srcOrd="0" destOrd="0" presId="urn:microsoft.com/office/officeart/2005/8/layout/cycle1"/>
    <dgm:cxn modelId="{16CBCD8A-D331-1A43-B7C9-4A2B881F3FD5}" type="presOf" srcId="{F070DC3D-DA7F-4841-8DE1-D2BA56714AAD}" destId="{3DBE10A1-9584-47AE-9FB3-0CF1D85CDFBF}" srcOrd="0" destOrd="0" presId="urn:microsoft.com/office/officeart/2005/8/layout/cycle1"/>
    <dgm:cxn modelId="{3B73DB7F-403C-4AB1-B088-1B2C2DF44500}" srcId="{B9002709-10CA-4D46-B069-DAA7F3E128A8}" destId="{F070DC3D-DA7F-4841-8DE1-D2BA56714AAD}" srcOrd="1" destOrd="0" parTransId="{68B0A83B-9F18-4366-82AD-BB9ACDF024A1}" sibTransId="{846B17D4-DD43-47C5-8D60-5913941B95DC}"/>
    <dgm:cxn modelId="{A326C317-7D61-8C4C-AFF1-66CD95EE7542}" type="presOf" srcId="{B9002709-10CA-4D46-B069-DAA7F3E128A8}" destId="{3843E548-0BED-4EEE-B01A-A388117614B1}" srcOrd="0" destOrd="0" presId="urn:microsoft.com/office/officeart/2005/8/layout/cycle1"/>
    <dgm:cxn modelId="{1E48A1B0-0769-A54C-B435-F748B97B4FF2}" type="presOf" srcId="{CF4D9181-77ED-4A34-95D8-E641E6608AF4}" destId="{74F4782C-5D80-40CB-A244-DE3EB9ADD11A}" srcOrd="0" destOrd="0" presId="urn:microsoft.com/office/officeart/2005/8/layout/cycle1"/>
    <dgm:cxn modelId="{D5FE97CE-E1AD-124B-9024-4B88B505BADA}" type="presOf" srcId="{846B17D4-DD43-47C5-8D60-5913941B95DC}" destId="{2931A1E6-A1FC-4109-96A9-735DFDE95D24}" srcOrd="0" destOrd="0" presId="urn:microsoft.com/office/officeart/2005/8/layout/cycle1"/>
    <dgm:cxn modelId="{131A340F-02CD-C444-8A69-7FECFD02E13B}" type="presOf" srcId="{3EB97758-4D3E-4177-9C4E-4770067BE8E2}" destId="{66D05B13-A505-4F52-B1BE-C415B819A1FB}" srcOrd="0" destOrd="0" presId="urn:microsoft.com/office/officeart/2005/8/layout/cycle1"/>
    <dgm:cxn modelId="{8883065F-632F-D94E-8CB0-0CEB8C57CCE9}" type="presOf" srcId="{07F34C5E-BC5C-45A3-84FF-F235CBD37B96}" destId="{ECAE3E47-17F2-4E28-B0CD-BE0284B2B2F5}" srcOrd="0" destOrd="0" presId="urn:microsoft.com/office/officeart/2005/8/layout/cycle1"/>
    <dgm:cxn modelId="{10D8F6DD-8982-49B7-8486-40B4ED237B0A}" srcId="{B9002709-10CA-4D46-B069-DAA7F3E128A8}" destId="{07F34C5E-BC5C-45A3-84FF-F235CBD37B96}" srcOrd="2" destOrd="0" parTransId="{1D81B606-34EA-41C1-B00D-946724B0B361}" sibTransId="{FF5E8282-5C99-4085-B948-D4AF81A914A1}"/>
    <dgm:cxn modelId="{87DA1AD3-509E-3645-A7B8-C32190B247C1}" type="presOf" srcId="{91D11E8B-DBD7-4E2C-BEC3-2595BFE05E7A}" destId="{36EC0269-CA4B-49E3-904C-7907C75F0014}" srcOrd="0" destOrd="0" presId="urn:microsoft.com/office/officeart/2005/8/layout/cycle1"/>
    <dgm:cxn modelId="{2A76A8C4-7963-4689-A8AE-167302F39F82}" srcId="{B9002709-10CA-4D46-B069-DAA7F3E128A8}" destId="{CF4D9181-77ED-4A34-95D8-E641E6608AF4}" srcOrd="0" destOrd="0" parTransId="{AF8F99CD-2CD0-4124-A9EE-BFCE61B97269}" sibTransId="{F156536D-1FC8-4DC0-9F29-087B248EF1CB}"/>
    <dgm:cxn modelId="{1DF6CD5D-2EC3-8D40-A9C2-BE60F6428517}" type="presParOf" srcId="{3843E548-0BED-4EEE-B01A-A388117614B1}" destId="{57B70F94-E945-456F-B8BD-6B044EC0F615}" srcOrd="0" destOrd="0" presId="urn:microsoft.com/office/officeart/2005/8/layout/cycle1"/>
    <dgm:cxn modelId="{6FB76376-1486-EE43-AE5A-2FC2E5B0C22F}" type="presParOf" srcId="{3843E548-0BED-4EEE-B01A-A388117614B1}" destId="{74F4782C-5D80-40CB-A244-DE3EB9ADD11A}" srcOrd="1" destOrd="0" presId="urn:microsoft.com/office/officeart/2005/8/layout/cycle1"/>
    <dgm:cxn modelId="{F03FD277-0D04-4A41-BDCE-7DCD539BF26A}" type="presParOf" srcId="{3843E548-0BED-4EEE-B01A-A388117614B1}" destId="{CF4E2A7F-B065-4717-84A1-79E1DF6DF0FA}" srcOrd="2" destOrd="0" presId="urn:microsoft.com/office/officeart/2005/8/layout/cycle1"/>
    <dgm:cxn modelId="{28E42977-D73A-F64E-AE14-28FF712147FC}" type="presParOf" srcId="{3843E548-0BED-4EEE-B01A-A388117614B1}" destId="{1EC014DD-5815-4A3C-AF1F-A478D57A266C}" srcOrd="3" destOrd="0" presId="urn:microsoft.com/office/officeart/2005/8/layout/cycle1"/>
    <dgm:cxn modelId="{111981A1-218C-5441-80E8-7D319C53E4B4}" type="presParOf" srcId="{3843E548-0BED-4EEE-B01A-A388117614B1}" destId="{3DBE10A1-9584-47AE-9FB3-0CF1D85CDFBF}" srcOrd="4" destOrd="0" presId="urn:microsoft.com/office/officeart/2005/8/layout/cycle1"/>
    <dgm:cxn modelId="{C49BDA7D-D47C-8440-A428-D7D4B06CC586}" type="presParOf" srcId="{3843E548-0BED-4EEE-B01A-A388117614B1}" destId="{2931A1E6-A1FC-4109-96A9-735DFDE95D24}" srcOrd="5" destOrd="0" presId="urn:microsoft.com/office/officeart/2005/8/layout/cycle1"/>
    <dgm:cxn modelId="{37922572-2827-2748-83F1-4F717A6F8936}" type="presParOf" srcId="{3843E548-0BED-4EEE-B01A-A388117614B1}" destId="{26E1D232-46BA-49B4-AE78-85BC1D42FCE3}" srcOrd="6" destOrd="0" presId="urn:microsoft.com/office/officeart/2005/8/layout/cycle1"/>
    <dgm:cxn modelId="{9CC64963-1F9A-744D-BC48-FEF878FBF7AA}" type="presParOf" srcId="{3843E548-0BED-4EEE-B01A-A388117614B1}" destId="{ECAE3E47-17F2-4E28-B0CD-BE0284B2B2F5}" srcOrd="7" destOrd="0" presId="urn:microsoft.com/office/officeart/2005/8/layout/cycle1"/>
    <dgm:cxn modelId="{179DCDB8-0A89-A942-8A46-0196AFC74F90}" type="presParOf" srcId="{3843E548-0BED-4EEE-B01A-A388117614B1}" destId="{8F570CD0-5D66-46D5-97B4-4482343F1441}" srcOrd="8" destOrd="0" presId="urn:microsoft.com/office/officeart/2005/8/layout/cycle1"/>
    <dgm:cxn modelId="{0752D06C-6C40-554D-BA96-9D3C0A872985}" type="presParOf" srcId="{3843E548-0BED-4EEE-B01A-A388117614B1}" destId="{A6D0D2F6-F15F-4DF2-A12D-67C954FB8992}" srcOrd="9" destOrd="0" presId="urn:microsoft.com/office/officeart/2005/8/layout/cycle1"/>
    <dgm:cxn modelId="{6F6343D3-D464-8842-B3C9-40B1ECC489E0}" type="presParOf" srcId="{3843E548-0BED-4EEE-B01A-A388117614B1}" destId="{66D05B13-A505-4F52-B1BE-C415B819A1FB}" srcOrd="10" destOrd="0" presId="urn:microsoft.com/office/officeart/2005/8/layout/cycle1"/>
    <dgm:cxn modelId="{2AD0E651-1C3A-9944-8E81-B60DD9CBCE61}" type="presParOf" srcId="{3843E548-0BED-4EEE-B01A-A388117614B1}" destId="{36EC0269-CA4B-49E3-904C-7907C75F0014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A78C3C7-04AC-42F3-95E9-C098CC811041}" type="doc">
      <dgm:prSet loTypeId="urn:microsoft.com/office/officeart/2005/8/layout/cycle8" loCatId="cycle" qsTypeId="urn:microsoft.com/office/officeart/2005/8/quickstyle/simple3" qsCatId="simple" csTypeId="urn:microsoft.com/office/officeart/2005/8/colors/accent1_2" csCatId="accent1" phldr="1"/>
      <dgm:spPr/>
    </dgm:pt>
    <dgm:pt modelId="{B130467A-F2F6-4AAB-BC51-2AF865F00D07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400" dirty="0" smtClean="0">
              <a:solidFill>
                <a:schemeClr val="accent2">
                  <a:lumMod val="50000"/>
                </a:schemeClr>
              </a:solidFill>
            </a:rPr>
            <a:t>Dev Ops</a:t>
          </a:r>
          <a:endParaRPr lang="en-US" sz="1400" dirty="0">
            <a:solidFill>
              <a:schemeClr val="accent2">
                <a:lumMod val="50000"/>
              </a:schemeClr>
            </a:solidFill>
          </a:endParaRPr>
        </a:p>
      </dgm:t>
    </dgm:pt>
    <dgm:pt modelId="{7BDD4D5F-FB44-4292-9B5C-64D24847B462}" type="parTrans" cxnId="{ACCC2D2E-D377-4B16-8B68-C7A563325A2E}">
      <dgm:prSet/>
      <dgm:spPr/>
      <dgm:t>
        <a:bodyPr/>
        <a:lstStyle/>
        <a:p>
          <a:endParaRPr lang="en-US" sz="1100">
            <a:solidFill>
              <a:schemeClr val="accent2">
                <a:lumMod val="50000"/>
              </a:schemeClr>
            </a:solidFill>
          </a:endParaRPr>
        </a:p>
      </dgm:t>
    </dgm:pt>
    <dgm:pt modelId="{C4F745CA-7D81-4535-BEE8-DCD4D94BD5B9}" type="sibTrans" cxnId="{ACCC2D2E-D377-4B16-8B68-C7A563325A2E}">
      <dgm:prSet/>
      <dgm:spPr/>
      <dgm:t>
        <a:bodyPr/>
        <a:lstStyle/>
        <a:p>
          <a:endParaRPr lang="en-US" sz="1100">
            <a:solidFill>
              <a:schemeClr val="accent2">
                <a:lumMod val="50000"/>
              </a:schemeClr>
            </a:solidFill>
          </a:endParaRPr>
        </a:p>
      </dgm:t>
    </dgm:pt>
    <dgm:pt modelId="{885DCE69-D5FC-4D4B-BDD6-5EA72E672D74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400" smtClean="0">
              <a:solidFill>
                <a:schemeClr val="accent2">
                  <a:lumMod val="50000"/>
                </a:schemeClr>
              </a:solidFill>
            </a:rPr>
            <a:t>Exec Arch</a:t>
          </a:r>
          <a:endParaRPr lang="en-US" sz="1400" dirty="0">
            <a:solidFill>
              <a:schemeClr val="accent2">
                <a:lumMod val="50000"/>
              </a:schemeClr>
            </a:solidFill>
          </a:endParaRPr>
        </a:p>
      </dgm:t>
    </dgm:pt>
    <dgm:pt modelId="{241D9962-ED0C-4D1E-B399-F83B2119E53B}" type="parTrans" cxnId="{051EB1F4-245F-486D-822D-7160A5068A1B}">
      <dgm:prSet/>
      <dgm:spPr/>
      <dgm:t>
        <a:bodyPr/>
        <a:lstStyle/>
        <a:p>
          <a:endParaRPr lang="en-US" sz="1100">
            <a:solidFill>
              <a:schemeClr val="accent2">
                <a:lumMod val="50000"/>
              </a:schemeClr>
            </a:solidFill>
          </a:endParaRPr>
        </a:p>
      </dgm:t>
    </dgm:pt>
    <dgm:pt modelId="{3C754E07-83C0-4F17-A359-22688CEAE40D}" type="sibTrans" cxnId="{051EB1F4-245F-486D-822D-7160A5068A1B}">
      <dgm:prSet/>
      <dgm:spPr/>
      <dgm:t>
        <a:bodyPr/>
        <a:lstStyle/>
        <a:p>
          <a:endParaRPr lang="en-US" sz="1100">
            <a:solidFill>
              <a:schemeClr val="accent2">
                <a:lumMod val="50000"/>
              </a:schemeClr>
            </a:solidFill>
          </a:endParaRPr>
        </a:p>
      </dgm:t>
    </dgm:pt>
    <dgm:pt modelId="{C493726C-8CA2-401E-A906-971B0AAB3838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400" dirty="0" smtClean="0">
              <a:solidFill>
                <a:schemeClr val="accent2">
                  <a:lumMod val="50000"/>
                </a:schemeClr>
              </a:solidFill>
            </a:rPr>
            <a:t>App Arch</a:t>
          </a:r>
          <a:endParaRPr lang="en-US" sz="1600" dirty="0">
            <a:solidFill>
              <a:schemeClr val="accent2">
                <a:lumMod val="50000"/>
              </a:schemeClr>
            </a:solidFill>
          </a:endParaRPr>
        </a:p>
      </dgm:t>
    </dgm:pt>
    <dgm:pt modelId="{65E2835A-6435-4186-9F87-00D1A012430A}" type="parTrans" cxnId="{4E34A405-756C-4CB3-9770-5F98D127ABCB}">
      <dgm:prSet/>
      <dgm:spPr/>
      <dgm:t>
        <a:bodyPr/>
        <a:lstStyle/>
        <a:p>
          <a:endParaRPr lang="en-US" sz="1100">
            <a:solidFill>
              <a:schemeClr val="accent2">
                <a:lumMod val="50000"/>
              </a:schemeClr>
            </a:solidFill>
          </a:endParaRPr>
        </a:p>
      </dgm:t>
    </dgm:pt>
    <dgm:pt modelId="{7901D887-AE7C-4DF3-9E64-484AE7CA4365}" type="sibTrans" cxnId="{4E34A405-756C-4CB3-9770-5F98D127ABCB}">
      <dgm:prSet/>
      <dgm:spPr/>
      <dgm:t>
        <a:bodyPr/>
        <a:lstStyle/>
        <a:p>
          <a:endParaRPr lang="en-US" sz="1100">
            <a:solidFill>
              <a:schemeClr val="accent2">
                <a:lumMod val="50000"/>
              </a:schemeClr>
            </a:solidFill>
          </a:endParaRPr>
        </a:p>
      </dgm:t>
    </dgm:pt>
    <dgm:pt modelId="{88D9797F-A862-4111-826F-712D88BA7BC1}" type="pres">
      <dgm:prSet presAssocID="{DA78C3C7-04AC-42F3-95E9-C098CC811041}" presName="compositeShape" presStyleCnt="0">
        <dgm:presLayoutVars>
          <dgm:chMax val="7"/>
          <dgm:dir val="rev"/>
          <dgm:resizeHandles val="exact"/>
        </dgm:presLayoutVars>
      </dgm:prSet>
      <dgm:spPr/>
    </dgm:pt>
    <dgm:pt modelId="{840585F0-FE96-4179-BF36-2AB66049D4D7}" type="pres">
      <dgm:prSet presAssocID="{DA78C3C7-04AC-42F3-95E9-C098CC811041}" presName="wedge1" presStyleLbl="node1" presStyleIdx="0" presStyleCnt="3"/>
      <dgm:spPr/>
      <dgm:t>
        <a:bodyPr/>
        <a:lstStyle/>
        <a:p>
          <a:endParaRPr lang="en-US"/>
        </a:p>
      </dgm:t>
    </dgm:pt>
    <dgm:pt modelId="{0FFDF520-D419-481B-B38E-700FBE51B904}" type="pres">
      <dgm:prSet presAssocID="{DA78C3C7-04AC-42F3-95E9-C098CC811041}" presName="dummy1a" presStyleCnt="0"/>
      <dgm:spPr/>
    </dgm:pt>
    <dgm:pt modelId="{B12C36B8-B631-48A1-9FC2-1E7A710D718D}" type="pres">
      <dgm:prSet presAssocID="{DA78C3C7-04AC-42F3-95E9-C098CC811041}" presName="dummy1b" presStyleCnt="0"/>
      <dgm:spPr/>
    </dgm:pt>
    <dgm:pt modelId="{375CEF74-AEA1-4DC7-9B35-6B83A7648A15}" type="pres">
      <dgm:prSet presAssocID="{DA78C3C7-04AC-42F3-95E9-C098CC811041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DAAEA7-4B67-4947-B19B-6F7E02D5B655}" type="pres">
      <dgm:prSet presAssocID="{DA78C3C7-04AC-42F3-95E9-C098CC811041}" presName="wedge2" presStyleLbl="node1" presStyleIdx="1" presStyleCnt="3"/>
      <dgm:spPr/>
      <dgm:t>
        <a:bodyPr/>
        <a:lstStyle/>
        <a:p>
          <a:endParaRPr lang="en-US"/>
        </a:p>
      </dgm:t>
    </dgm:pt>
    <dgm:pt modelId="{CA3C0C98-C9BC-4B3D-B375-43E2D155A569}" type="pres">
      <dgm:prSet presAssocID="{DA78C3C7-04AC-42F3-95E9-C098CC811041}" presName="dummy2a" presStyleCnt="0"/>
      <dgm:spPr/>
    </dgm:pt>
    <dgm:pt modelId="{8DA50980-B524-40AC-9AB8-F8071FCB9679}" type="pres">
      <dgm:prSet presAssocID="{DA78C3C7-04AC-42F3-95E9-C098CC811041}" presName="dummy2b" presStyleCnt="0"/>
      <dgm:spPr/>
    </dgm:pt>
    <dgm:pt modelId="{C8F5A4BB-7382-4884-939E-CCBE7E62FAA6}" type="pres">
      <dgm:prSet presAssocID="{DA78C3C7-04AC-42F3-95E9-C098CC811041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4F6D6A-1EC6-432D-92EE-FF23144182BB}" type="pres">
      <dgm:prSet presAssocID="{DA78C3C7-04AC-42F3-95E9-C098CC811041}" presName="wedge3" presStyleLbl="node1" presStyleIdx="2" presStyleCnt="3"/>
      <dgm:spPr/>
      <dgm:t>
        <a:bodyPr/>
        <a:lstStyle/>
        <a:p>
          <a:endParaRPr lang="en-US"/>
        </a:p>
      </dgm:t>
    </dgm:pt>
    <dgm:pt modelId="{A862F595-2AF3-4A11-B8E2-2FB23A86D4CA}" type="pres">
      <dgm:prSet presAssocID="{DA78C3C7-04AC-42F3-95E9-C098CC811041}" presName="dummy3a" presStyleCnt="0"/>
      <dgm:spPr/>
    </dgm:pt>
    <dgm:pt modelId="{BDA46091-0162-4911-A4A6-8BE11E3B0894}" type="pres">
      <dgm:prSet presAssocID="{DA78C3C7-04AC-42F3-95E9-C098CC811041}" presName="dummy3b" presStyleCnt="0"/>
      <dgm:spPr/>
    </dgm:pt>
    <dgm:pt modelId="{5B93D5C0-5B7D-4267-A9DF-330B2D8C5808}" type="pres">
      <dgm:prSet presAssocID="{DA78C3C7-04AC-42F3-95E9-C098CC811041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C3DF38-5172-4937-945A-EE6792C8AFE6}" type="pres">
      <dgm:prSet presAssocID="{C4F745CA-7D81-4535-BEE8-DCD4D94BD5B9}" presName="arrowWedge1" presStyleLbl="fgSibTrans2D1" presStyleIdx="0" presStyleCnt="3"/>
      <dgm:spPr>
        <a:solidFill>
          <a:srgbClr val="9C1C15"/>
        </a:solidFill>
      </dgm:spPr>
    </dgm:pt>
    <dgm:pt modelId="{0AABEEB8-9AA4-4BA1-B28B-4D3CE6682A1D}" type="pres">
      <dgm:prSet presAssocID="{3C754E07-83C0-4F17-A359-22688CEAE40D}" presName="arrowWedge2" presStyleLbl="fgSibTrans2D1" presStyleIdx="1" presStyleCnt="3"/>
      <dgm:spPr>
        <a:solidFill>
          <a:srgbClr val="9C1C15"/>
        </a:solidFill>
        <a:ln>
          <a:solidFill>
            <a:srgbClr val="C91C15"/>
          </a:solidFill>
        </a:ln>
      </dgm:spPr>
    </dgm:pt>
    <dgm:pt modelId="{0436004A-A035-48D8-A6D6-39BF10FCE06E}" type="pres">
      <dgm:prSet presAssocID="{7901D887-AE7C-4DF3-9E64-484AE7CA4365}" presName="arrowWedge3" presStyleLbl="fgSibTrans2D1" presStyleIdx="2" presStyleCnt="3"/>
      <dgm:spPr>
        <a:solidFill>
          <a:srgbClr val="9C1C15"/>
        </a:solidFill>
      </dgm:spPr>
    </dgm:pt>
  </dgm:ptLst>
  <dgm:cxnLst>
    <dgm:cxn modelId="{82A892EB-97EC-8841-BA56-94FEE0903827}" type="presOf" srcId="{C493726C-8CA2-401E-A906-971B0AAB3838}" destId="{375CEF74-AEA1-4DC7-9B35-6B83A7648A15}" srcOrd="1" destOrd="0" presId="urn:microsoft.com/office/officeart/2005/8/layout/cycle8"/>
    <dgm:cxn modelId="{051EB1F4-245F-486D-822D-7160A5068A1B}" srcId="{DA78C3C7-04AC-42F3-95E9-C098CC811041}" destId="{885DCE69-D5FC-4D4B-BDD6-5EA72E672D74}" srcOrd="1" destOrd="0" parTransId="{241D9962-ED0C-4D1E-B399-F83B2119E53B}" sibTransId="{3C754E07-83C0-4F17-A359-22688CEAE40D}"/>
    <dgm:cxn modelId="{41E162DC-39FD-E34D-9E2D-7348B2E72CE3}" type="presOf" srcId="{DA78C3C7-04AC-42F3-95E9-C098CC811041}" destId="{88D9797F-A862-4111-826F-712D88BA7BC1}" srcOrd="0" destOrd="0" presId="urn:microsoft.com/office/officeart/2005/8/layout/cycle8"/>
    <dgm:cxn modelId="{3CBD1DC0-4E40-7A46-8FBC-C39DA2557E34}" type="presOf" srcId="{B130467A-F2F6-4AAB-BC51-2AF865F00D07}" destId="{5B93D5C0-5B7D-4267-A9DF-330B2D8C5808}" srcOrd="1" destOrd="0" presId="urn:microsoft.com/office/officeart/2005/8/layout/cycle8"/>
    <dgm:cxn modelId="{5B32EF7F-9534-8F45-AA66-36560AE9BAB5}" type="presOf" srcId="{885DCE69-D5FC-4D4B-BDD6-5EA72E672D74}" destId="{C8F5A4BB-7382-4884-939E-CCBE7E62FAA6}" srcOrd="1" destOrd="0" presId="urn:microsoft.com/office/officeart/2005/8/layout/cycle8"/>
    <dgm:cxn modelId="{04338044-8C7C-204D-8C14-13EEBC7CEF0E}" type="presOf" srcId="{C493726C-8CA2-401E-A906-971B0AAB3838}" destId="{840585F0-FE96-4179-BF36-2AB66049D4D7}" srcOrd="0" destOrd="0" presId="urn:microsoft.com/office/officeart/2005/8/layout/cycle8"/>
    <dgm:cxn modelId="{CE096884-6A63-2040-9BA6-79A8D681C4A9}" type="presOf" srcId="{B130467A-F2F6-4AAB-BC51-2AF865F00D07}" destId="{9D4F6D6A-1EC6-432D-92EE-FF23144182BB}" srcOrd="0" destOrd="0" presId="urn:microsoft.com/office/officeart/2005/8/layout/cycle8"/>
    <dgm:cxn modelId="{6F0C7F8B-4928-AC4E-8A9F-321AD77764AC}" type="presOf" srcId="{885DCE69-D5FC-4D4B-BDD6-5EA72E672D74}" destId="{C6DAAEA7-4B67-4947-B19B-6F7E02D5B655}" srcOrd="0" destOrd="0" presId="urn:microsoft.com/office/officeart/2005/8/layout/cycle8"/>
    <dgm:cxn modelId="{4E34A405-756C-4CB3-9770-5F98D127ABCB}" srcId="{DA78C3C7-04AC-42F3-95E9-C098CC811041}" destId="{C493726C-8CA2-401E-A906-971B0AAB3838}" srcOrd="2" destOrd="0" parTransId="{65E2835A-6435-4186-9F87-00D1A012430A}" sibTransId="{7901D887-AE7C-4DF3-9E64-484AE7CA4365}"/>
    <dgm:cxn modelId="{ACCC2D2E-D377-4B16-8B68-C7A563325A2E}" srcId="{DA78C3C7-04AC-42F3-95E9-C098CC811041}" destId="{B130467A-F2F6-4AAB-BC51-2AF865F00D07}" srcOrd="0" destOrd="0" parTransId="{7BDD4D5F-FB44-4292-9B5C-64D24847B462}" sibTransId="{C4F745CA-7D81-4535-BEE8-DCD4D94BD5B9}"/>
    <dgm:cxn modelId="{223C7291-FAEE-664A-B361-D388FBC4BCA6}" type="presParOf" srcId="{88D9797F-A862-4111-826F-712D88BA7BC1}" destId="{840585F0-FE96-4179-BF36-2AB66049D4D7}" srcOrd="0" destOrd="0" presId="urn:microsoft.com/office/officeart/2005/8/layout/cycle8"/>
    <dgm:cxn modelId="{B5E60A43-0F65-8D4D-B425-FDA8A697E1BC}" type="presParOf" srcId="{88D9797F-A862-4111-826F-712D88BA7BC1}" destId="{0FFDF520-D419-481B-B38E-700FBE51B904}" srcOrd="1" destOrd="0" presId="urn:microsoft.com/office/officeart/2005/8/layout/cycle8"/>
    <dgm:cxn modelId="{D3A514C1-D67E-994D-B0A6-8CCF729C1DE3}" type="presParOf" srcId="{88D9797F-A862-4111-826F-712D88BA7BC1}" destId="{B12C36B8-B631-48A1-9FC2-1E7A710D718D}" srcOrd="2" destOrd="0" presId="urn:microsoft.com/office/officeart/2005/8/layout/cycle8"/>
    <dgm:cxn modelId="{F9DE0110-3FF5-EE4B-B099-0370EBF9053E}" type="presParOf" srcId="{88D9797F-A862-4111-826F-712D88BA7BC1}" destId="{375CEF74-AEA1-4DC7-9B35-6B83A7648A15}" srcOrd="3" destOrd="0" presId="urn:microsoft.com/office/officeart/2005/8/layout/cycle8"/>
    <dgm:cxn modelId="{2D8D41DD-36BA-8A41-844F-9C1422CB6E7C}" type="presParOf" srcId="{88D9797F-A862-4111-826F-712D88BA7BC1}" destId="{C6DAAEA7-4B67-4947-B19B-6F7E02D5B655}" srcOrd="4" destOrd="0" presId="urn:microsoft.com/office/officeart/2005/8/layout/cycle8"/>
    <dgm:cxn modelId="{11CCAF1D-D044-CC47-AC43-4F0ECA012A42}" type="presParOf" srcId="{88D9797F-A862-4111-826F-712D88BA7BC1}" destId="{CA3C0C98-C9BC-4B3D-B375-43E2D155A569}" srcOrd="5" destOrd="0" presId="urn:microsoft.com/office/officeart/2005/8/layout/cycle8"/>
    <dgm:cxn modelId="{1DF5FAA2-770F-4246-999E-75F6996E4D1B}" type="presParOf" srcId="{88D9797F-A862-4111-826F-712D88BA7BC1}" destId="{8DA50980-B524-40AC-9AB8-F8071FCB9679}" srcOrd="6" destOrd="0" presId="urn:microsoft.com/office/officeart/2005/8/layout/cycle8"/>
    <dgm:cxn modelId="{4DE35A1B-B4FE-D14B-A56F-1B53DDDA60FC}" type="presParOf" srcId="{88D9797F-A862-4111-826F-712D88BA7BC1}" destId="{C8F5A4BB-7382-4884-939E-CCBE7E62FAA6}" srcOrd="7" destOrd="0" presId="urn:microsoft.com/office/officeart/2005/8/layout/cycle8"/>
    <dgm:cxn modelId="{EAB7CD9E-A0B9-D248-9A63-E773A62198FB}" type="presParOf" srcId="{88D9797F-A862-4111-826F-712D88BA7BC1}" destId="{9D4F6D6A-1EC6-432D-92EE-FF23144182BB}" srcOrd="8" destOrd="0" presId="urn:microsoft.com/office/officeart/2005/8/layout/cycle8"/>
    <dgm:cxn modelId="{00D7D3E7-055A-8940-B557-0437EE38C2B3}" type="presParOf" srcId="{88D9797F-A862-4111-826F-712D88BA7BC1}" destId="{A862F595-2AF3-4A11-B8E2-2FB23A86D4CA}" srcOrd="9" destOrd="0" presId="urn:microsoft.com/office/officeart/2005/8/layout/cycle8"/>
    <dgm:cxn modelId="{F8BB5EA7-FCF2-D54D-BF19-18A032AFE55D}" type="presParOf" srcId="{88D9797F-A862-4111-826F-712D88BA7BC1}" destId="{BDA46091-0162-4911-A4A6-8BE11E3B0894}" srcOrd="10" destOrd="0" presId="urn:microsoft.com/office/officeart/2005/8/layout/cycle8"/>
    <dgm:cxn modelId="{78BCE376-E055-9A4D-A1FA-3E94A8C19D40}" type="presParOf" srcId="{88D9797F-A862-4111-826F-712D88BA7BC1}" destId="{5B93D5C0-5B7D-4267-A9DF-330B2D8C5808}" srcOrd="11" destOrd="0" presId="urn:microsoft.com/office/officeart/2005/8/layout/cycle8"/>
    <dgm:cxn modelId="{BD85329B-D95B-1F42-8785-59C3494A9E24}" type="presParOf" srcId="{88D9797F-A862-4111-826F-712D88BA7BC1}" destId="{E0C3DF38-5172-4937-945A-EE6792C8AFE6}" srcOrd="12" destOrd="0" presId="urn:microsoft.com/office/officeart/2005/8/layout/cycle8"/>
    <dgm:cxn modelId="{A91FC65B-A248-2C42-9A68-55A4B875FFDB}" type="presParOf" srcId="{88D9797F-A862-4111-826F-712D88BA7BC1}" destId="{0AABEEB8-9AA4-4BA1-B28B-4D3CE6682A1D}" srcOrd="13" destOrd="0" presId="urn:microsoft.com/office/officeart/2005/8/layout/cycle8"/>
    <dgm:cxn modelId="{B01BD282-46E0-8448-849B-0351792D73B5}" type="presParOf" srcId="{88D9797F-A862-4111-826F-712D88BA7BC1}" destId="{0436004A-A035-48D8-A6D6-39BF10FCE06E}" srcOrd="14" destOrd="0" presId="urn:microsoft.com/office/officeart/2005/8/layout/cycle8"/>
  </dgm:cxnLst>
  <dgm:bg>
    <a:noFill/>
  </dgm:bg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033494-9344-0544-A638-E88E359771A4}" type="doc">
      <dgm:prSet loTypeId="urn:microsoft.com/office/officeart/2005/8/layout/cycle1" loCatId="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29F8CDF-499C-5547-B3AF-9652B6199659}">
      <dgm:prSet phldrT="[Text]"/>
      <dgm:spPr/>
      <dgm:t>
        <a:bodyPr/>
        <a:lstStyle/>
        <a:p>
          <a:r>
            <a:rPr lang="en-US" dirty="0" smtClean="0"/>
            <a:t>Write Code to Pass Test</a:t>
          </a:r>
          <a:endParaRPr lang="en-US" dirty="0"/>
        </a:p>
      </dgm:t>
    </dgm:pt>
    <dgm:pt modelId="{9C1E37ED-81D5-0B49-8213-A4812B39E6D8}" type="parTrans" cxnId="{E3A519E7-A81B-8C49-B2B9-C52929DCA5D6}">
      <dgm:prSet/>
      <dgm:spPr/>
      <dgm:t>
        <a:bodyPr/>
        <a:lstStyle/>
        <a:p>
          <a:endParaRPr lang="en-US"/>
        </a:p>
      </dgm:t>
    </dgm:pt>
    <dgm:pt modelId="{9ECD183D-394D-CB40-946E-501BA129F87A}" type="sibTrans" cxnId="{E3A519E7-A81B-8C49-B2B9-C52929DCA5D6}">
      <dgm:prSet/>
      <dgm:spPr/>
      <dgm:t>
        <a:bodyPr/>
        <a:lstStyle/>
        <a:p>
          <a:endParaRPr lang="en-US"/>
        </a:p>
      </dgm:t>
    </dgm:pt>
    <dgm:pt modelId="{072A29B6-E95E-2245-B0F5-549AABA6BD65}">
      <dgm:prSet phldrT="[Text]"/>
      <dgm:spPr/>
      <dgm:t>
        <a:bodyPr/>
        <a:lstStyle/>
        <a:p>
          <a:r>
            <a:rPr lang="en-US" dirty="0" smtClean="0"/>
            <a:t>Pass Static Analysis</a:t>
          </a:r>
          <a:endParaRPr lang="en-US" dirty="0"/>
        </a:p>
      </dgm:t>
    </dgm:pt>
    <dgm:pt modelId="{65054016-E45E-1D49-AE17-1B9172A578BA}" type="parTrans" cxnId="{950E5B05-2A31-5C43-9B7B-50380E9836F1}">
      <dgm:prSet/>
      <dgm:spPr/>
      <dgm:t>
        <a:bodyPr/>
        <a:lstStyle/>
        <a:p>
          <a:endParaRPr lang="en-US"/>
        </a:p>
      </dgm:t>
    </dgm:pt>
    <dgm:pt modelId="{341C7C50-9CB7-5949-867C-DCCB61096669}" type="sibTrans" cxnId="{950E5B05-2A31-5C43-9B7B-50380E9836F1}">
      <dgm:prSet/>
      <dgm:spPr/>
      <dgm:t>
        <a:bodyPr/>
        <a:lstStyle/>
        <a:p>
          <a:endParaRPr lang="en-US"/>
        </a:p>
      </dgm:t>
    </dgm:pt>
    <dgm:pt modelId="{F605E86E-638A-2448-8E93-DFEAA2E50FBC}">
      <dgm:prSet phldrT="[Text]"/>
      <dgm:spPr/>
      <dgm:t>
        <a:bodyPr/>
        <a:lstStyle/>
        <a:p>
          <a:r>
            <a:rPr lang="en-US" dirty="0" smtClean="0"/>
            <a:t>Pass Code Review</a:t>
          </a:r>
          <a:endParaRPr lang="en-US" dirty="0"/>
        </a:p>
      </dgm:t>
    </dgm:pt>
    <dgm:pt modelId="{0B648492-3544-D44B-A3C3-0921C6EB89A4}" type="parTrans" cxnId="{DCC49DA6-6245-EF4C-8CE7-66D5FDE25512}">
      <dgm:prSet/>
      <dgm:spPr/>
      <dgm:t>
        <a:bodyPr/>
        <a:lstStyle/>
        <a:p>
          <a:endParaRPr lang="en-US"/>
        </a:p>
      </dgm:t>
    </dgm:pt>
    <dgm:pt modelId="{10479387-A611-EE4C-9DFC-F8585A905239}" type="sibTrans" cxnId="{DCC49DA6-6245-EF4C-8CE7-66D5FDE25512}">
      <dgm:prSet/>
      <dgm:spPr/>
      <dgm:t>
        <a:bodyPr/>
        <a:lstStyle/>
        <a:p>
          <a:endParaRPr lang="en-US"/>
        </a:p>
      </dgm:t>
    </dgm:pt>
    <dgm:pt modelId="{8CC84ABE-1BF2-9245-BB8C-3254BF06A206}">
      <dgm:prSet phldrT="[Text]"/>
      <dgm:spPr/>
      <dgm:t>
        <a:bodyPr/>
        <a:lstStyle/>
        <a:p>
          <a:r>
            <a:rPr lang="en-US" dirty="0" smtClean="0"/>
            <a:t>Write Failing Test</a:t>
          </a:r>
          <a:endParaRPr lang="en-US" dirty="0"/>
        </a:p>
      </dgm:t>
    </dgm:pt>
    <dgm:pt modelId="{6025EFB8-533F-5548-883F-D43D9FA116E9}" type="parTrans" cxnId="{E45BBBE9-6146-9749-BB66-58A9A8059B99}">
      <dgm:prSet/>
      <dgm:spPr/>
      <dgm:t>
        <a:bodyPr/>
        <a:lstStyle/>
        <a:p>
          <a:endParaRPr lang="en-US"/>
        </a:p>
      </dgm:t>
    </dgm:pt>
    <dgm:pt modelId="{7CA8D583-FA02-0540-8CD6-64A9EF16F8EF}" type="sibTrans" cxnId="{E45BBBE9-6146-9749-BB66-58A9A8059B99}">
      <dgm:prSet/>
      <dgm:spPr/>
      <dgm:t>
        <a:bodyPr/>
        <a:lstStyle/>
        <a:p>
          <a:endParaRPr lang="en-US"/>
        </a:p>
      </dgm:t>
    </dgm:pt>
    <dgm:pt modelId="{763FE0AD-177D-BC44-8622-B433DB6DF944}" type="pres">
      <dgm:prSet presAssocID="{2E033494-9344-0544-A638-E88E359771A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184DEC-C2ED-4B42-815B-5913AB1365FB}" type="pres">
      <dgm:prSet presAssocID="{129F8CDF-499C-5547-B3AF-9652B6199659}" presName="dummy" presStyleCnt="0"/>
      <dgm:spPr/>
    </dgm:pt>
    <dgm:pt modelId="{1A3A5C80-3BAB-F34F-91B4-0623453AB133}" type="pres">
      <dgm:prSet presAssocID="{129F8CDF-499C-5547-B3AF-9652B6199659}" presName="node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9BA9AF-EA49-1B47-BD0A-3B6AA85A4D31}" type="pres">
      <dgm:prSet presAssocID="{9ECD183D-394D-CB40-946E-501BA129F87A}" presName="sibTrans" presStyleLbl="node1" presStyleIdx="0" presStyleCnt="4"/>
      <dgm:spPr/>
      <dgm:t>
        <a:bodyPr/>
        <a:lstStyle/>
        <a:p>
          <a:endParaRPr lang="en-US"/>
        </a:p>
      </dgm:t>
    </dgm:pt>
    <dgm:pt modelId="{7683139A-BAED-E241-9173-513CE3B9C8B4}" type="pres">
      <dgm:prSet presAssocID="{072A29B6-E95E-2245-B0F5-549AABA6BD65}" presName="dummy" presStyleCnt="0"/>
      <dgm:spPr/>
    </dgm:pt>
    <dgm:pt modelId="{6AEE94DD-625D-3241-959E-E9C9A7655601}" type="pres">
      <dgm:prSet presAssocID="{072A29B6-E95E-2245-B0F5-549AABA6BD65}" presName="node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E346A4-2EAB-AE45-B669-D60E86E5FA4C}" type="pres">
      <dgm:prSet presAssocID="{341C7C50-9CB7-5949-867C-DCCB61096669}" presName="sibTrans" presStyleLbl="node1" presStyleIdx="1" presStyleCnt="4"/>
      <dgm:spPr/>
      <dgm:t>
        <a:bodyPr/>
        <a:lstStyle/>
        <a:p>
          <a:endParaRPr lang="en-US"/>
        </a:p>
      </dgm:t>
    </dgm:pt>
    <dgm:pt modelId="{C9D62762-FCC0-7F4E-A5F5-B44996FD2C2C}" type="pres">
      <dgm:prSet presAssocID="{F605E86E-638A-2448-8E93-DFEAA2E50FBC}" presName="dummy" presStyleCnt="0"/>
      <dgm:spPr/>
    </dgm:pt>
    <dgm:pt modelId="{AF6CB18F-EFA4-754C-84F5-506846A7D730}" type="pres">
      <dgm:prSet presAssocID="{F605E86E-638A-2448-8E93-DFEAA2E50FBC}" presName="node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C41729-AEFD-464F-872F-4460B4AF2740}" type="pres">
      <dgm:prSet presAssocID="{10479387-A611-EE4C-9DFC-F8585A905239}" presName="sibTrans" presStyleLbl="node1" presStyleIdx="2" presStyleCnt="4"/>
      <dgm:spPr/>
      <dgm:t>
        <a:bodyPr/>
        <a:lstStyle/>
        <a:p>
          <a:endParaRPr lang="en-US"/>
        </a:p>
      </dgm:t>
    </dgm:pt>
    <dgm:pt modelId="{0351F49D-FDBA-3A4F-807F-C31B4AD327B3}" type="pres">
      <dgm:prSet presAssocID="{8CC84ABE-1BF2-9245-BB8C-3254BF06A206}" presName="dummy" presStyleCnt="0"/>
      <dgm:spPr/>
    </dgm:pt>
    <dgm:pt modelId="{3900D94D-77FC-E74C-9E9B-172F5509A6A3}" type="pres">
      <dgm:prSet presAssocID="{8CC84ABE-1BF2-9245-BB8C-3254BF06A206}" presName="node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964509-09ED-F641-823A-0FBBE873B863}" type="pres">
      <dgm:prSet presAssocID="{7CA8D583-FA02-0540-8CD6-64A9EF16F8EF}" presName="sibTrans" presStyleLbl="node1" presStyleIdx="3" presStyleCnt="4"/>
      <dgm:spPr/>
      <dgm:t>
        <a:bodyPr/>
        <a:lstStyle/>
        <a:p>
          <a:endParaRPr lang="en-US"/>
        </a:p>
      </dgm:t>
    </dgm:pt>
  </dgm:ptLst>
  <dgm:cxnLst>
    <dgm:cxn modelId="{339AF271-1988-5143-B8E7-F5BA0C2EE60E}" type="presOf" srcId="{7CA8D583-FA02-0540-8CD6-64A9EF16F8EF}" destId="{BD964509-09ED-F641-823A-0FBBE873B863}" srcOrd="0" destOrd="0" presId="urn:microsoft.com/office/officeart/2005/8/layout/cycle1"/>
    <dgm:cxn modelId="{C72A6F16-F2D2-794D-A38E-6F2CD5EFC742}" type="presOf" srcId="{2E033494-9344-0544-A638-E88E359771A4}" destId="{763FE0AD-177D-BC44-8622-B433DB6DF944}" srcOrd="0" destOrd="0" presId="urn:microsoft.com/office/officeart/2005/8/layout/cycle1"/>
    <dgm:cxn modelId="{0B45944D-DFA6-A348-82D3-041293698563}" type="presOf" srcId="{129F8CDF-499C-5547-B3AF-9652B6199659}" destId="{1A3A5C80-3BAB-F34F-91B4-0623453AB133}" srcOrd="0" destOrd="0" presId="urn:microsoft.com/office/officeart/2005/8/layout/cycle1"/>
    <dgm:cxn modelId="{A413687C-22A7-F042-9E5D-988D6C8FFDEB}" type="presOf" srcId="{9ECD183D-394D-CB40-946E-501BA129F87A}" destId="{879BA9AF-EA49-1B47-BD0A-3B6AA85A4D31}" srcOrd="0" destOrd="0" presId="urn:microsoft.com/office/officeart/2005/8/layout/cycle1"/>
    <dgm:cxn modelId="{E3A519E7-A81B-8C49-B2B9-C52929DCA5D6}" srcId="{2E033494-9344-0544-A638-E88E359771A4}" destId="{129F8CDF-499C-5547-B3AF-9652B6199659}" srcOrd="0" destOrd="0" parTransId="{9C1E37ED-81D5-0B49-8213-A4812B39E6D8}" sibTransId="{9ECD183D-394D-CB40-946E-501BA129F87A}"/>
    <dgm:cxn modelId="{E072EDED-F4C6-0E42-B476-EF7093FF4228}" type="presOf" srcId="{8CC84ABE-1BF2-9245-BB8C-3254BF06A206}" destId="{3900D94D-77FC-E74C-9E9B-172F5509A6A3}" srcOrd="0" destOrd="0" presId="urn:microsoft.com/office/officeart/2005/8/layout/cycle1"/>
    <dgm:cxn modelId="{950E5B05-2A31-5C43-9B7B-50380E9836F1}" srcId="{2E033494-9344-0544-A638-E88E359771A4}" destId="{072A29B6-E95E-2245-B0F5-549AABA6BD65}" srcOrd="1" destOrd="0" parTransId="{65054016-E45E-1D49-AE17-1B9172A578BA}" sibTransId="{341C7C50-9CB7-5949-867C-DCCB61096669}"/>
    <dgm:cxn modelId="{89BB4E08-1DFC-C54D-954E-406A40966D36}" type="presOf" srcId="{072A29B6-E95E-2245-B0F5-549AABA6BD65}" destId="{6AEE94DD-625D-3241-959E-E9C9A7655601}" srcOrd="0" destOrd="0" presId="urn:microsoft.com/office/officeart/2005/8/layout/cycle1"/>
    <dgm:cxn modelId="{6E2F4072-BC5C-8143-BD87-88E8D08C05BA}" type="presOf" srcId="{10479387-A611-EE4C-9DFC-F8585A905239}" destId="{0EC41729-AEFD-464F-872F-4460B4AF2740}" srcOrd="0" destOrd="0" presId="urn:microsoft.com/office/officeart/2005/8/layout/cycle1"/>
    <dgm:cxn modelId="{8BE394BA-AD1D-C746-956A-98FE7A708106}" type="presOf" srcId="{341C7C50-9CB7-5949-867C-DCCB61096669}" destId="{BCE346A4-2EAB-AE45-B669-D60E86E5FA4C}" srcOrd="0" destOrd="0" presId="urn:microsoft.com/office/officeart/2005/8/layout/cycle1"/>
    <dgm:cxn modelId="{E45BBBE9-6146-9749-BB66-58A9A8059B99}" srcId="{2E033494-9344-0544-A638-E88E359771A4}" destId="{8CC84ABE-1BF2-9245-BB8C-3254BF06A206}" srcOrd="3" destOrd="0" parTransId="{6025EFB8-533F-5548-883F-D43D9FA116E9}" sibTransId="{7CA8D583-FA02-0540-8CD6-64A9EF16F8EF}"/>
    <dgm:cxn modelId="{94B6143A-CB42-C941-897B-ED2DFFB8C9E9}" type="presOf" srcId="{F605E86E-638A-2448-8E93-DFEAA2E50FBC}" destId="{AF6CB18F-EFA4-754C-84F5-506846A7D730}" srcOrd="0" destOrd="0" presId="urn:microsoft.com/office/officeart/2005/8/layout/cycle1"/>
    <dgm:cxn modelId="{DCC49DA6-6245-EF4C-8CE7-66D5FDE25512}" srcId="{2E033494-9344-0544-A638-E88E359771A4}" destId="{F605E86E-638A-2448-8E93-DFEAA2E50FBC}" srcOrd="2" destOrd="0" parTransId="{0B648492-3544-D44B-A3C3-0921C6EB89A4}" sibTransId="{10479387-A611-EE4C-9DFC-F8585A905239}"/>
    <dgm:cxn modelId="{6ADF473B-AB6A-4848-B005-B5A288062BE6}" type="presParOf" srcId="{763FE0AD-177D-BC44-8622-B433DB6DF944}" destId="{A0184DEC-C2ED-4B42-815B-5913AB1365FB}" srcOrd="0" destOrd="0" presId="urn:microsoft.com/office/officeart/2005/8/layout/cycle1"/>
    <dgm:cxn modelId="{46D4083F-64CF-134B-8605-649CC5DF60EA}" type="presParOf" srcId="{763FE0AD-177D-BC44-8622-B433DB6DF944}" destId="{1A3A5C80-3BAB-F34F-91B4-0623453AB133}" srcOrd="1" destOrd="0" presId="urn:microsoft.com/office/officeart/2005/8/layout/cycle1"/>
    <dgm:cxn modelId="{4FB234FF-C4B7-4A4D-8C06-2F600644AA54}" type="presParOf" srcId="{763FE0AD-177D-BC44-8622-B433DB6DF944}" destId="{879BA9AF-EA49-1B47-BD0A-3B6AA85A4D31}" srcOrd="2" destOrd="0" presId="urn:microsoft.com/office/officeart/2005/8/layout/cycle1"/>
    <dgm:cxn modelId="{29E08F41-28E7-734C-8700-8C47D6FA6346}" type="presParOf" srcId="{763FE0AD-177D-BC44-8622-B433DB6DF944}" destId="{7683139A-BAED-E241-9173-513CE3B9C8B4}" srcOrd="3" destOrd="0" presId="urn:microsoft.com/office/officeart/2005/8/layout/cycle1"/>
    <dgm:cxn modelId="{15E4F4C6-52E4-4241-94D8-51FBFA246DDA}" type="presParOf" srcId="{763FE0AD-177D-BC44-8622-B433DB6DF944}" destId="{6AEE94DD-625D-3241-959E-E9C9A7655601}" srcOrd="4" destOrd="0" presId="urn:microsoft.com/office/officeart/2005/8/layout/cycle1"/>
    <dgm:cxn modelId="{ACC8A5CC-BBDB-2245-8DB8-6312D1E6509D}" type="presParOf" srcId="{763FE0AD-177D-BC44-8622-B433DB6DF944}" destId="{BCE346A4-2EAB-AE45-B669-D60E86E5FA4C}" srcOrd="5" destOrd="0" presId="urn:microsoft.com/office/officeart/2005/8/layout/cycle1"/>
    <dgm:cxn modelId="{8529A1BD-EB1E-9940-ADE2-B9BDE23C67FD}" type="presParOf" srcId="{763FE0AD-177D-BC44-8622-B433DB6DF944}" destId="{C9D62762-FCC0-7F4E-A5F5-B44996FD2C2C}" srcOrd="6" destOrd="0" presId="urn:microsoft.com/office/officeart/2005/8/layout/cycle1"/>
    <dgm:cxn modelId="{B1F4B973-5A24-AC45-AFC1-838DA9F7DB33}" type="presParOf" srcId="{763FE0AD-177D-BC44-8622-B433DB6DF944}" destId="{AF6CB18F-EFA4-754C-84F5-506846A7D730}" srcOrd="7" destOrd="0" presId="urn:microsoft.com/office/officeart/2005/8/layout/cycle1"/>
    <dgm:cxn modelId="{0533EB41-D0BC-4740-9A08-B0FF530823B8}" type="presParOf" srcId="{763FE0AD-177D-BC44-8622-B433DB6DF944}" destId="{0EC41729-AEFD-464F-872F-4460B4AF2740}" srcOrd="8" destOrd="0" presId="urn:microsoft.com/office/officeart/2005/8/layout/cycle1"/>
    <dgm:cxn modelId="{F81D3CEA-D04D-4245-8C3C-50A72B401CD1}" type="presParOf" srcId="{763FE0AD-177D-BC44-8622-B433DB6DF944}" destId="{0351F49D-FDBA-3A4F-807F-C31B4AD327B3}" srcOrd="9" destOrd="0" presId="urn:microsoft.com/office/officeart/2005/8/layout/cycle1"/>
    <dgm:cxn modelId="{F16CCCB9-6955-464C-9C41-EF17F77E581B}" type="presParOf" srcId="{763FE0AD-177D-BC44-8622-B433DB6DF944}" destId="{3900D94D-77FC-E74C-9E9B-172F5509A6A3}" srcOrd="10" destOrd="0" presId="urn:microsoft.com/office/officeart/2005/8/layout/cycle1"/>
    <dgm:cxn modelId="{B1EFBD12-6F83-A045-AC5D-C951BE807B78}" type="presParOf" srcId="{763FE0AD-177D-BC44-8622-B433DB6DF944}" destId="{BD964509-09ED-F641-823A-0FBBE873B863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6DBB35-0416-43C6-A864-184522659468}">
      <dsp:nvSpPr>
        <dsp:cNvPr id="0" name=""/>
        <dsp:cNvSpPr/>
      </dsp:nvSpPr>
      <dsp:spPr>
        <a:xfrm>
          <a:off x="1016" y="303745"/>
          <a:ext cx="904911" cy="36196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latin typeface="Avenir Next Regular"/>
              <a:cs typeface="Avenir Next Regular"/>
            </a:rPr>
            <a:t>User Stories</a:t>
          </a:r>
          <a:endParaRPr lang="en-US" sz="1000" kern="1200" dirty="0">
            <a:latin typeface="Avenir Next Regular"/>
            <a:cs typeface="Avenir Next Regular"/>
          </a:endParaRPr>
        </a:p>
      </dsp:txBody>
      <dsp:txXfrm>
        <a:off x="181998" y="303745"/>
        <a:ext cx="542947" cy="361964"/>
      </dsp:txXfrm>
    </dsp:sp>
    <dsp:sp modelId="{6FC4CCB3-5FD3-47BF-AA14-9CD977E994A5}">
      <dsp:nvSpPr>
        <dsp:cNvPr id="0" name=""/>
        <dsp:cNvSpPr/>
      </dsp:nvSpPr>
      <dsp:spPr>
        <a:xfrm>
          <a:off x="815436" y="303745"/>
          <a:ext cx="904911" cy="361964"/>
        </a:xfrm>
        <a:prstGeom prst="chevron">
          <a:avLst/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latin typeface="Avenir Next Regular"/>
              <a:cs typeface="Avenir Next Regular"/>
            </a:rPr>
            <a:t>Creative</a:t>
          </a:r>
          <a:endParaRPr lang="en-US" sz="1000" kern="1200" dirty="0">
            <a:latin typeface="Avenir Next Regular"/>
            <a:cs typeface="Avenir Next Regular"/>
          </a:endParaRPr>
        </a:p>
      </dsp:txBody>
      <dsp:txXfrm>
        <a:off x="996418" y="303745"/>
        <a:ext cx="542947" cy="361964"/>
      </dsp:txXfrm>
    </dsp:sp>
    <dsp:sp modelId="{08960EF9-C75D-4F05-BA47-FBAF02B69609}">
      <dsp:nvSpPr>
        <dsp:cNvPr id="0" name=""/>
        <dsp:cNvSpPr/>
      </dsp:nvSpPr>
      <dsp:spPr>
        <a:xfrm>
          <a:off x="1629856" y="303745"/>
          <a:ext cx="904911" cy="361964"/>
        </a:xfrm>
        <a:prstGeom prst="chevron">
          <a:avLst/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latin typeface="Avenir Next Regular"/>
              <a:cs typeface="Avenir Next Regular"/>
            </a:rPr>
            <a:t>Front End Dev</a:t>
          </a:r>
          <a:endParaRPr lang="en-US" sz="1000" kern="1200" dirty="0">
            <a:latin typeface="Avenir Next Regular"/>
            <a:cs typeface="Avenir Next Regular"/>
          </a:endParaRPr>
        </a:p>
      </dsp:txBody>
      <dsp:txXfrm>
        <a:off x="1810838" y="303745"/>
        <a:ext cx="542947" cy="361964"/>
      </dsp:txXfrm>
    </dsp:sp>
    <dsp:sp modelId="{59A97CB0-8779-4FC1-A1F5-CDAD44B62C5F}">
      <dsp:nvSpPr>
        <dsp:cNvPr id="0" name=""/>
        <dsp:cNvSpPr/>
      </dsp:nvSpPr>
      <dsp:spPr>
        <a:xfrm>
          <a:off x="2444276" y="303745"/>
          <a:ext cx="904911" cy="361964"/>
        </a:xfrm>
        <a:prstGeom prst="chevron">
          <a:avLst/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latin typeface="Avenir Next Regular"/>
              <a:cs typeface="Avenir Next Regular"/>
            </a:rPr>
            <a:t>Back End Dev</a:t>
          </a:r>
          <a:endParaRPr lang="en-US" sz="1000" kern="1200" dirty="0">
            <a:latin typeface="Avenir Next Regular"/>
            <a:cs typeface="Avenir Next Regular"/>
          </a:endParaRPr>
        </a:p>
      </dsp:txBody>
      <dsp:txXfrm>
        <a:off x="2625258" y="303745"/>
        <a:ext cx="542947" cy="361964"/>
      </dsp:txXfrm>
    </dsp:sp>
    <dsp:sp modelId="{79C190BC-8682-456F-AFBB-6E5B06A1B3BC}">
      <dsp:nvSpPr>
        <dsp:cNvPr id="0" name=""/>
        <dsp:cNvSpPr/>
      </dsp:nvSpPr>
      <dsp:spPr>
        <a:xfrm>
          <a:off x="3258697" y="303745"/>
          <a:ext cx="904911" cy="361964"/>
        </a:xfrm>
        <a:prstGeom prst="chevron">
          <a:avLst/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latin typeface="Avenir Next Regular"/>
              <a:cs typeface="Avenir Next Regular"/>
            </a:rPr>
            <a:t>QA</a:t>
          </a:r>
          <a:endParaRPr lang="en-US" sz="1000" kern="1200" dirty="0">
            <a:latin typeface="Avenir Next Regular"/>
            <a:cs typeface="Avenir Next Regular"/>
          </a:endParaRPr>
        </a:p>
      </dsp:txBody>
      <dsp:txXfrm>
        <a:off x="3439679" y="303745"/>
        <a:ext cx="542947" cy="3619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F4782C-5D80-40CB-A244-DE3EB9ADD11A}">
      <dsp:nvSpPr>
        <dsp:cNvPr id="0" name=""/>
        <dsp:cNvSpPr/>
      </dsp:nvSpPr>
      <dsp:spPr>
        <a:xfrm rot="2926303">
          <a:off x="2444030" y="60978"/>
          <a:ext cx="957623" cy="9576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lient/API Development</a:t>
          </a:r>
          <a:endParaRPr lang="en-US" sz="1200" kern="1200" dirty="0"/>
        </a:p>
      </dsp:txBody>
      <dsp:txXfrm>
        <a:off x="2444030" y="60978"/>
        <a:ext cx="957623" cy="957623"/>
      </dsp:txXfrm>
    </dsp:sp>
    <dsp:sp modelId="{CF4E2A7F-B065-4717-84A1-79E1DF6DF0FA}">
      <dsp:nvSpPr>
        <dsp:cNvPr id="0" name=""/>
        <dsp:cNvSpPr/>
      </dsp:nvSpPr>
      <dsp:spPr>
        <a:xfrm>
          <a:off x="755347" y="317"/>
          <a:ext cx="2706966" cy="2706966"/>
        </a:xfrm>
        <a:prstGeom prst="circularArrow">
          <a:avLst>
            <a:gd name="adj1" fmla="val 6898"/>
            <a:gd name="adj2" fmla="val 465059"/>
            <a:gd name="adj3" fmla="val 550648"/>
            <a:gd name="adj4" fmla="val 20584293"/>
            <a:gd name="adj5" fmla="val 8048"/>
          </a:avLst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BE10A1-9584-47AE-9FB3-0CF1D85CDFBF}">
      <dsp:nvSpPr>
        <dsp:cNvPr id="0" name=""/>
        <dsp:cNvSpPr/>
      </dsp:nvSpPr>
      <dsp:spPr>
        <a:xfrm rot="19272087">
          <a:off x="2444030" y="1689000"/>
          <a:ext cx="957623" cy="9576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smtClean="0"/>
            <a:t>QA</a:t>
          </a:r>
          <a:endParaRPr lang="en-US" sz="1400" kern="1200" dirty="0"/>
        </a:p>
      </dsp:txBody>
      <dsp:txXfrm>
        <a:off x="2444030" y="1689000"/>
        <a:ext cx="957623" cy="957623"/>
      </dsp:txXfrm>
    </dsp:sp>
    <dsp:sp modelId="{2931A1E6-A1FC-4109-96A9-735DFDE95D24}">
      <dsp:nvSpPr>
        <dsp:cNvPr id="0" name=""/>
        <dsp:cNvSpPr/>
      </dsp:nvSpPr>
      <dsp:spPr>
        <a:xfrm>
          <a:off x="755347" y="317"/>
          <a:ext cx="2706966" cy="2706966"/>
        </a:xfrm>
        <a:prstGeom prst="circularArrow">
          <a:avLst>
            <a:gd name="adj1" fmla="val 6898"/>
            <a:gd name="adj2" fmla="val 465059"/>
            <a:gd name="adj3" fmla="val 5950648"/>
            <a:gd name="adj4" fmla="val 4384293"/>
            <a:gd name="adj5" fmla="val 8048"/>
          </a:avLst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AE3E47-17F2-4E28-B0CD-BE0284B2B2F5}">
      <dsp:nvSpPr>
        <dsp:cNvPr id="0" name=""/>
        <dsp:cNvSpPr/>
      </dsp:nvSpPr>
      <dsp:spPr>
        <a:xfrm rot="2497429">
          <a:off x="816008" y="1689000"/>
          <a:ext cx="957623" cy="9576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smtClean="0"/>
            <a:t>User    Stories</a:t>
          </a:r>
          <a:endParaRPr lang="en-US" sz="1400" kern="1200" dirty="0"/>
        </a:p>
      </dsp:txBody>
      <dsp:txXfrm>
        <a:off x="816008" y="1689000"/>
        <a:ext cx="957623" cy="957623"/>
      </dsp:txXfrm>
    </dsp:sp>
    <dsp:sp modelId="{8F570CD0-5D66-46D5-97B4-4482343F1441}">
      <dsp:nvSpPr>
        <dsp:cNvPr id="0" name=""/>
        <dsp:cNvSpPr/>
      </dsp:nvSpPr>
      <dsp:spPr>
        <a:xfrm>
          <a:off x="755347" y="317"/>
          <a:ext cx="2706966" cy="2706966"/>
        </a:xfrm>
        <a:prstGeom prst="circularArrow">
          <a:avLst>
            <a:gd name="adj1" fmla="val 6898"/>
            <a:gd name="adj2" fmla="val 465059"/>
            <a:gd name="adj3" fmla="val 11350648"/>
            <a:gd name="adj4" fmla="val 9784293"/>
            <a:gd name="adj5" fmla="val 8048"/>
          </a:avLst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D05B13-A505-4F52-B1BE-C415B819A1FB}">
      <dsp:nvSpPr>
        <dsp:cNvPr id="0" name=""/>
        <dsp:cNvSpPr/>
      </dsp:nvSpPr>
      <dsp:spPr>
        <a:xfrm rot="18708556">
          <a:off x="816008" y="60978"/>
          <a:ext cx="957623" cy="9576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UX / Creative</a:t>
          </a:r>
          <a:endParaRPr lang="en-US" sz="1400" kern="1200" dirty="0"/>
        </a:p>
      </dsp:txBody>
      <dsp:txXfrm>
        <a:off x="816008" y="60978"/>
        <a:ext cx="957623" cy="957623"/>
      </dsp:txXfrm>
    </dsp:sp>
    <dsp:sp modelId="{36EC0269-CA4B-49E3-904C-7907C75F0014}">
      <dsp:nvSpPr>
        <dsp:cNvPr id="0" name=""/>
        <dsp:cNvSpPr/>
      </dsp:nvSpPr>
      <dsp:spPr>
        <a:xfrm>
          <a:off x="755347" y="317"/>
          <a:ext cx="2706966" cy="2706966"/>
        </a:xfrm>
        <a:prstGeom prst="circularArrow">
          <a:avLst>
            <a:gd name="adj1" fmla="val 6898"/>
            <a:gd name="adj2" fmla="val 465059"/>
            <a:gd name="adj3" fmla="val 16750648"/>
            <a:gd name="adj4" fmla="val 15184293"/>
            <a:gd name="adj5" fmla="val 8048"/>
          </a:avLst>
        </a:prstGeom>
        <a:solidFill>
          <a:srgbClr val="A6A6A6"/>
        </a:solidFill>
        <a:ln w="25400" cap="flat" cmpd="sng" algn="ctr">
          <a:solidFill>
            <a:srgbClr val="FF33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0585F0-FE96-4179-BF36-2AB66049D4D7}">
      <dsp:nvSpPr>
        <dsp:cNvPr id="0" name=""/>
        <dsp:cNvSpPr/>
      </dsp:nvSpPr>
      <dsp:spPr>
        <a:xfrm>
          <a:off x="714653" y="123492"/>
          <a:ext cx="1595905" cy="1595905"/>
        </a:xfrm>
        <a:prstGeom prst="pie">
          <a:avLst>
            <a:gd name="adj1" fmla="val 16200000"/>
            <a:gd name="adj2" fmla="val 180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accent2">
                  <a:lumMod val="50000"/>
                </a:schemeClr>
              </a:solidFill>
            </a:rPr>
            <a:t>App Arch</a:t>
          </a:r>
          <a:endParaRPr lang="en-US" sz="1600" kern="1200" dirty="0">
            <a:solidFill>
              <a:schemeClr val="accent2">
                <a:lumMod val="50000"/>
              </a:schemeClr>
            </a:solidFill>
          </a:endParaRPr>
        </a:p>
      </dsp:txBody>
      <dsp:txXfrm>
        <a:off x="1555733" y="461672"/>
        <a:ext cx="569966" cy="474971"/>
      </dsp:txXfrm>
    </dsp:sp>
    <dsp:sp modelId="{C6DAAEA7-4B67-4947-B19B-6F7E02D5B655}">
      <dsp:nvSpPr>
        <dsp:cNvPr id="0" name=""/>
        <dsp:cNvSpPr/>
      </dsp:nvSpPr>
      <dsp:spPr>
        <a:xfrm>
          <a:off x="681785" y="180489"/>
          <a:ext cx="1595905" cy="1595905"/>
        </a:xfrm>
        <a:prstGeom prst="pie">
          <a:avLst>
            <a:gd name="adj1" fmla="val 1800000"/>
            <a:gd name="adj2" fmla="val 900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smtClean="0">
              <a:solidFill>
                <a:schemeClr val="accent2">
                  <a:lumMod val="50000"/>
                </a:schemeClr>
              </a:solidFill>
            </a:rPr>
            <a:t>Exec Arch</a:t>
          </a:r>
          <a:endParaRPr lang="en-US" sz="1400" kern="1200" dirty="0">
            <a:solidFill>
              <a:schemeClr val="accent2">
                <a:lumMod val="50000"/>
              </a:schemeClr>
            </a:solidFill>
          </a:endParaRPr>
        </a:p>
      </dsp:txBody>
      <dsp:txXfrm>
        <a:off x="1061762" y="1215927"/>
        <a:ext cx="854949" cy="417975"/>
      </dsp:txXfrm>
    </dsp:sp>
    <dsp:sp modelId="{9D4F6D6A-1EC6-432D-92EE-FF23144182BB}">
      <dsp:nvSpPr>
        <dsp:cNvPr id="0" name=""/>
        <dsp:cNvSpPr/>
      </dsp:nvSpPr>
      <dsp:spPr>
        <a:xfrm>
          <a:off x="648917" y="123492"/>
          <a:ext cx="1595905" cy="1595905"/>
        </a:xfrm>
        <a:prstGeom prst="pie">
          <a:avLst>
            <a:gd name="adj1" fmla="val 9000000"/>
            <a:gd name="adj2" fmla="val 1620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accent2">
                  <a:lumMod val="50000"/>
                </a:schemeClr>
              </a:solidFill>
            </a:rPr>
            <a:t>Dev Ops</a:t>
          </a:r>
          <a:endParaRPr lang="en-US" sz="1400" kern="1200" dirty="0">
            <a:solidFill>
              <a:schemeClr val="accent2">
                <a:lumMod val="50000"/>
              </a:schemeClr>
            </a:solidFill>
          </a:endParaRPr>
        </a:p>
      </dsp:txBody>
      <dsp:txXfrm>
        <a:off x="833776" y="461672"/>
        <a:ext cx="569966" cy="474971"/>
      </dsp:txXfrm>
    </dsp:sp>
    <dsp:sp modelId="{E0C3DF38-5172-4937-945A-EE6792C8AFE6}">
      <dsp:nvSpPr>
        <dsp:cNvPr id="0" name=""/>
        <dsp:cNvSpPr/>
      </dsp:nvSpPr>
      <dsp:spPr>
        <a:xfrm>
          <a:off x="615991" y="24698"/>
          <a:ext cx="1793493" cy="1793493"/>
        </a:xfrm>
        <a:prstGeom prst="leftCircularArrow">
          <a:avLst>
            <a:gd name="adj1" fmla="val 5085"/>
            <a:gd name="adj2" fmla="val 327528"/>
            <a:gd name="adj3" fmla="val 16526961"/>
            <a:gd name="adj4" fmla="val 1800000"/>
            <a:gd name="adj5" fmla="val 5932"/>
          </a:avLst>
        </a:prstGeom>
        <a:solidFill>
          <a:srgbClr val="9C1C15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AABEEB8-9AA4-4BA1-B28B-4D3CE6682A1D}">
      <dsp:nvSpPr>
        <dsp:cNvPr id="0" name=""/>
        <dsp:cNvSpPr/>
      </dsp:nvSpPr>
      <dsp:spPr>
        <a:xfrm>
          <a:off x="582991" y="81594"/>
          <a:ext cx="1793493" cy="1793493"/>
        </a:xfrm>
        <a:prstGeom prst="leftCircularArrow">
          <a:avLst>
            <a:gd name="adj1" fmla="val 5085"/>
            <a:gd name="adj2" fmla="val 327528"/>
            <a:gd name="adj3" fmla="val 2128030"/>
            <a:gd name="adj4" fmla="val 8999498"/>
            <a:gd name="adj5" fmla="val 5932"/>
          </a:avLst>
        </a:prstGeom>
        <a:solidFill>
          <a:srgbClr val="9C1C15"/>
        </a:solidFill>
        <a:ln>
          <a:solidFill>
            <a:srgbClr val="C91C15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436004A-A035-48D8-A6D6-39BF10FCE06E}">
      <dsp:nvSpPr>
        <dsp:cNvPr id="0" name=""/>
        <dsp:cNvSpPr/>
      </dsp:nvSpPr>
      <dsp:spPr>
        <a:xfrm>
          <a:off x="549991" y="24698"/>
          <a:ext cx="1793493" cy="1793493"/>
        </a:xfrm>
        <a:prstGeom prst="leftCircularArrow">
          <a:avLst>
            <a:gd name="adj1" fmla="val 5085"/>
            <a:gd name="adj2" fmla="val 327528"/>
            <a:gd name="adj3" fmla="val 9327528"/>
            <a:gd name="adj4" fmla="val 16200568"/>
            <a:gd name="adj5" fmla="val 5932"/>
          </a:avLst>
        </a:prstGeom>
        <a:solidFill>
          <a:srgbClr val="9C1C15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3A5C80-3BAB-F34F-91B4-0623453AB133}">
      <dsp:nvSpPr>
        <dsp:cNvPr id="0" name=""/>
        <dsp:cNvSpPr/>
      </dsp:nvSpPr>
      <dsp:spPr>
        <a:xfrm>
          <a:off x="2140872" y="47664"/>
          <a:ext cx="747067" cy="7470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Write Code to Pass Test</a:t>
          </a:r>
          <a:endParaRPr lang="en-US" sz="1300" kern="1200" dirty="0"/>
        </a:p>
      </dsp:txBody>
      <dsp:txXfrm>
        <a:off x="2140872" y="47664"/>
        <a:ext cx="747067" cy="747067"/>
      </dsp:txXfrm>
    </dsp:sp>
    <dsp:sp modelId="{879BA9AF-EA49-1B47-BD0A-3B6AA85A4D31}">
      <dsp:nvSpPr>
        <dsp:cNvPr id="0" name=""/>
        <dsp:cNvSpPr/>
      </dsp:nvSpPr>
      <dsp:spPr>
        <a:xfrm>
          <a:off x="824029" y="434"/>
          <a:ext cx="2111140" cy="2111140"/>
        </a:xfrm>
        <a:prstGeom prst="circularArrow">
          <a:avLst>
            <a:gd name="adj1" fmla="val 6900"/>
            <a:gd name="adj2" fmla="val 465224"/>
            <a:gd name="adj3" fmla="val 549954"/>
            <a:gd name="adj4" fmla="val 20584822"/>
            <a:gd name="adj5" fmla="val 805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AEE94DD-625D-3241-959E-E9C9A7655601}">
      <dsp:nvSpPr>
        <dsp:cNvPr id="0" name=""/>
        <dsp:cNvSpPr/>
      </dsp:nvSpPr>
      <dsp:spPr>
        <a:xfrm>
          <a:off x="2140872" y="1317277"/>
          <a:ext cx="747067" cy="7470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Pass Static Analysis</a:t>
          </a:r>
          <a:endParaRPr lang="en-US" sz="1300" kern="1200" dirty="0"/>
        </a:p>
      </dsp:txBody>
      <dsp:txXfrm>
        <a:off x="2140872" y="1317277"/>
        <a:ext cx="747067" cy="747067"/>
      </dsp:txXfrm>
    </dsp:sp>
    <dsp:sp modelId="{BCE346A4-2EAB-AE45-B669-D60E86E5FA4C}">
      <dsp:nvSpPr>
        <dsp:cNvPr id="0" name=""/>
        <dsp:cNvSpPr/>
      </dsp:nvSpPr>
      <dsp:spPr>
        <a:xfrm>
          <a:off x="824029" y="434"/>
          <a:ext cx="2111140" cy="2111140"/>
        </a:xfrm>
        <a:prstGeom prst="circularArrow">
          <a:avLst>
            <a:gd name="adj1" fmla="val 6900"/>
            <a:gd name="adj2" fmla="val 465224"/>
            <a:gd name="adj3" fmla="val 5949954"/>
            <a:gd name="adj4" fmla="val 4384822"/>
            <a:gd name="adj5" fmla="val 805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F6CB18F-EFA4-754C-84F5-506846A7D730}">
      <dsp:nvSpPr>
        <dsp:cNvPr id="0" name=""/>
        <dsp:cNvSpPr/>
      </dsp:nvSpPr>
      <dsp:spPr>
        <a:xfrm>
          <a:off x="871259" y="1317277"/>
          <a:ext cx="747067" cy="7470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Pass Code Review</a:t>
          </a:r>
          <a:endParaRPr lang="en-US" sz="1300" kern="1200" dirty="0"/>
        </a:p>
      </dsp:txBody>
      <dsp:txXfrm>
        <a:off x="871259" y="1317277"/>
        <a:ext cx="747067" cy="747067"/>
      </dsp:txXfrm>
    </dsp:sp>
    <dsp:sp modelId="{0EC41729-AEFD-464F-872F-4460B4AF2740}">
      <dsp:nvSpPr>
        <dsp:cNvPr id="0" name=""/>
        <dsp:cNvSpPr/>
      </dsp:nvSpPr>
      <dsp:spPr>
        <a:xfrm>
          <a:off x="824029" y="434"/>
          <a:ext cx="2111140" cy="2111140"/>
        </a:xfrm>
        <a:prstGeom prst="circularArrow">
          <a:avLst>
            <a:gd name="adj1" fmla="val 6900"/>
            <a:gd name="adj2" fmla="val 465224"/>
            <a:gd name="adj3" fmla="val 11349954"/>
            <a:gd name="adj4" fmla="val 9784822"/>
            <a:gd name="adj5" fmla="val 805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900D94D-77FC-E74C-9E9B-172F5509A6A3}">
      <dsp:nvSpPr>
        <dsp:cNvPr id="0" name=""/>
        <dsp:cNvSpPr/>
      </dsp:nvSpPr>
      <dsp:spPr>
        <a:xfrm>
          <a:off x="871259" y="47664"/>
          <a:ext cx="747067" cy="7470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Write Failing Test</a:t>
          </a:r>
          <a:endParaRPr lang="en-US" sz="1300" kern="1200" dirty="0"/>
        </a:p>
      </dsp:txBody>
      <dsp:txXfrm>
        <a:off x="871259" y="47664"/>
        <a:ext cx="747067" cy="747067"/>
      </dsp:txXfrm>
    </dsp:sp>
    <dsp:sp modelId="{BD964509-09ED-F641-823A-0FBBE873B863}">
      <dsp:nvSpPr>
        <dsp:cNvPr id="0" name=""/>
        <dsp:cNvSpPr/>
      </dsp:nvSpPr>
      <dsp:spPr>
        <a:xfrm>
          <a:off x="824029" y="434"/>
          <a:ext cx="2111140" cy="2111140"/>
        </a:xfrm>
        <a:prstGeom prst="circularArrow">
          <a:avLst>
            <a:gd name="adj1" fmla="val 6900"/>
            <a:gd name="adj2" fmla="val 465224"/>
            <a:gd name="adj3" fmla="val 16749954"/>
            <a:gd name="adj4" fmla="val 15184822"/>
            <a:gd name="adj5" fmla="val 805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1/12/15</a:t>
            </a:fld>
            <a:endParaRPr lang="en-A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287587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239713" y="336550"/>
            <a:ext cx="7337426" cy="4127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572000"/>
            <a:ext cx="5486400" cy="38862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85800" y="8685213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004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Engagement </a:t>
            </a:r>
            <a:r>
              <a:rPr lang="en-US" u="sng" baseline="0" dirty="0" smtClean="0"/>
              <a:t>Contacts:</a:t>
            </a:r>
            <a:r>
              <a:rPr lang="en-US" u="none" baseline="0" dirty="0" smtClean="0"/>
              <a:t> </a:t>
            </a:r>
          </a:p>
          <a:p>
            <a:r>
              <a:rPr lang="en-US" dirty="0" err="1" smtClean="0"/>
              <a:t>Murali</a:t>
            </a:r>
            <a:r>
              <a:rPr lang="en-US" dirty="0" smtClean="0"/>
              <a:t> </a:t>
            </a:r>
            <a:r>
              <a:rPr lang="en-US" dirty="0" err="1" smtClean="0"/>
              <a:t>Rao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murali.rao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Sach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til</a:t>
            </a:r>
            <a:r>
              <a:rPr lang="en-US" baseline="0" dirty="0" smtClean="0"/>
              <a:t>, Mohammad </a:t>
            </a:r>
            <a:r>
              <a:rPr lang="en-US" baseline="0" dirty="0" err="1" smtClean="0"/>
              <a:t>Anwe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hanashre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lal</a:t>
            </a:r>
            <a:r>
              <a:rPr lang="en-US" baseline="0" dirty="0" smtClean="0"/>
              <a:t>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768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Engagement </a:t>
            </a:r>
            <a:r>
              <a:rPr lang="en-US" u="sng" baseline="0" dirty="0" smtClean="0"/>
              <a:t>Contacts:</a:t>
            </a:r>
            <a:r>
              <a:rPr lang="en-US" u="none" baseline="0" dirty="0" smtClean="0"/>
              <a:t> </a:t>
            </a:r>
          </a:p>
          <a:p>
            <a:r>
              <a:rPr lang="en-US" dirty="0" smtClean="0"/>
              <a:t>Sven</a:t>
            </a:r>
            <a:r>
              <a:rPr lang="en-US" baseline="0" dirty="0" smtClean="0"/>
              <a:t> G. </a:t>
            </a:r>
            <a:r>
              <a:rPr lang="en-US" baseline="0" dirty="0" err="1" smtClean="0"/>
              <a:t>Loberg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sven.g.loberg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Dhananjay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oswami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hananjay.goswami</a:t>
            </a:r>
            <a:r>
              <a:rPr lang="en-US" baseline="0" dirty="0" smtClean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4778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Engagement </a:t>
            </a:r>
            <a:r>
              <a:rPr lang="en-US" u="sng" baseline="0" dirty="0" smtClean="0"/>
              <a:t>Contacts:</a:t>
            </a:r>
            <a:r>
              <a:rPr lang="en-US" u="none" baseline="0" dirty="0" smtClean="0"/>
              <a:t> </a:t>
            </a:r>
          </a:p>
          <a:p>
            <a:r>
              <a:rPr lang="en-US" dirty="0" smtClean="0"/>
              <a:t>Sven</a:t>
            </a:r>
            <a:r>
              <a:rPr lang="en-US" baseline="0" dirty="0" smtClean="0"/>
              <a:t> G. </a:t>
            </a:r>
            <a:r>
              <a:rPr lang="en-US" baseline="0" dirty="0" err="1" smtClean="0"/>
              <a:t>Loberg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sven.g.loberg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Dhananjay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oswami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hananjay.goswami</a:t>
            </a:r>
            <a:r>
              <a:rPr lang="en-US" baseline="0" dirty="0" smtClean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12DDA7-7063-F242-B4AA-0E25E4680747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4520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Engagement </a:t>
            </a:r>
            <a:r>
              <a:rPr lang="en-US" u="sng" baseline="0" dirty="0" smtClean="0"/>
              <a:t>Contacts:</a:t>
            </a:r>
            <a:r>
              <a:rPr lang="en-US" u="none" baseline="0" dirty="0" smtClean="0"/>
              <a:t> </a:t>
            </a:r>
          </a:p>
          <a:p>
            <a:r>
              <a:rPr lang="en-US" dirty="0" err="1" smtClean="0"/>
              <a:t>Murali</a:t>
            </a:r>
            <a:r>
              <a:rPr lang="en-US" dirty="0" smtClean="0"/>
              <a:t> </a:t>
            </a:r>
            <a:r>
              <a:rPr lang="en-US" dirty="0" err="1" smtClean="0"/>
              <a:t>Rao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murali.rao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Sach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til</a:t>
            </a:r>
            <a:r>
              <a:rPr lang="en-US" baseline="0" dirty="0" smtClean="0"/>
              <a:t>, Mohammad </a:t>
            </a:r>
            <a:r>
              <a:rPr lang="en-US" baseline="0" dirty="0" err="1" smtClean="0"/>
              <a:t>Anwe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hanashre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lal</a:t>
            </a:r>
            <a:r>
              <a:rPr lang="en-US" baseline="0" dirty="0" smtClean="0"/>
              <a:t>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768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Engagement </a:t>
            </a:r>
            <a:r>
              <a:rPr lang="en-US" u="sng" baseline="0" dirty="0" smtClean="0"/>
              <a:t>Contacts:</a:t>
            </a:r>
            <a:r>
              <a:rPr lang="en-US" u="none" baseline="0" dirty="0" smtClean="0"/>
              <a:t> </a:t>
            </a:r>
          </a:p>
          <a:p>
            <a:r>
              <a:rPr lang="en-US" dirty="0" err="1" smtClean="0"/>
              <a:t>Murali</a:t>
            </a:r>
            <a:r>
              <a:rPr lang="en-US" dirty="0" smtClean="0"/>
              <a:t> </a:t>
            </a:r>
            <a:r>
              <a:rPr lang="en-US" dirty="0" err="1" smtClean="0"/>
              <a:t>Rao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murali.rao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Sach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til</a:t>
            </a:r>
            <a:r>
              <a:rPr lang="en-US" baseline="0" dirty="0" smtClean="0"/>
              <a:t>, Mohammad </a:t>
            </a:r>
            <a:r>
              <a:rPr lang="en-US" baseline="0" dirty="0" err="1" smtClean="0"/>
              <a:t>Anwe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hanashre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lal</a:t>
            </a:r>
            <a:r>
              <a:rPr lang="en-US" baseline="0" dirty="0" smtClean="0"/>
              <a:t>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768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Engagement </a:t>
            </a:r>
            <a:r>
              <a:rPr lang="en-US" u="sng" baseline="0" dirty="0" smtClean="0"/>
              <a:t>Contacts:</a:t>
            </a:r>
            <a:r>
              <a:rPr lang="en-US" u="none" baseline="0" dirty="0" smtClean="0"/>
              <a:t> </a:t>
            </a:r>
          </a:p>
          <a:p>
            <a:r>
              <a:rPr lang="en-US" dirty="0" err="1" smtClean="0"/>
              <a:t>Murali</a:t>
            </a:r>
            <a:r>
              <a:rPr lang="en-US" dirty="0" smtClean="0"/>
              <a:t> </a:t>
            </a:r>
            <a:r>
              <a:rPr lang="en-US" dirty="0" err="1" smtClean="0"/>
              <a:t>Rao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murali.rao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Sach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til</a:t>
            </a:r>
            <a:r>
              <a:rPr lang="en-US" baseline="0" dirty="0" smtClean="0"/>
              <a:t>, Mohammad </a:t>
            </a:r>
            <a:r>
              <a:rPr lang="en-US" baseline="0" dirty="0" err="1" smtClean="0"/>
              <a:t>Anwe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hanashre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lal</a:t>
            </a:r>
            <a:r>
              <a:rPr lang="en-US" baseline="0" dirty="0" smtClean="0"/>
              <a:t>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62144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 smtClean="0"/>
              <a:t>Engagement </a:t>
            </a:r>
            <a:r>
              <a:rPr lang="en-US" u="sng" baseline="0" dirty="0" smtClean="0"/>
              <a:t>Contacts:</a:t>
            </a:r>
            <a:r>
              <a:rPr lang="en-US" u="none" baseline="0" dirty="0" smtClean="0"/>
              <a:t> </a:t>
            </a:r>
          </a:p>
          <a:p>
            <a:r>
              <a:rPr lang="en-US" dirty="0" err="1" smtClean="0"/>
              <a:t>Murali</a:t>
            </a:r>
            <a:r>
              <a:rPr lang="en-US" dirty="0" smtClean="0"/>
              <a:t> </a:t>
            </a:r>
            <a:r>
              <a:rPr lang="en-US" dirty="0" err="1" smtClean="0"/>
              <a:t>Rao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murali.rao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Sach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til</a:t>
            </a:r>
            <a:r>
              <a:rPr lang="en-US" baseline="0" dirty="0" smtClean="0"/>
              <a:t>, Mohammad </a:t>
            </a:r>
            <a:r>
              <a:rPr lang="en-US" baseline="0" dirty="0" err="1" smtClean="0"/>
              <a:t>Anwe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hanashre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lal</a:t>
            </a:r>
            <a:r>
              <a:rPr lang="en-US" baseline="0" dirty="0" smtClean="0"/>
              <a:t>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768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jpeg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Relationship Id="rId3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Relationship Id="rId3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53845" cy="5143501"/>
          </a:xfrm>
          <a:prstGeom prst="rect">
            <a:avLst/>
          </a:prstGeom>
        </p:spPr>
      </p:pic>
      <p:pic>
        <p:nvPicPr>
          <p:cNvPr id="4" name="Picture 3" descr="Screen Shot 2014-01-08 at 11.14.02 AM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945" y="120316"/>
            <a:ext cx="2461728" cy="1219200"/>
          </a:xfrm>
          <a:prstGeom prst="rect">
            <a:avLst/>
          </a:prstGeom>
        </p:spPr>
      </p:pic>
      <p:pic>
        <p:nvPicPr>
          <p:cNvPr id="5" name="Picture 4" descr="Screen Shot 2014-01-08 at 11.14.06 AM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0319" y="713665"/>
            <a:ext cx="3557677" cy="2716881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 bwMode="auto">
          <a:xfrm>
            <a:off x="461965" y="1936640"/>
            <a:ext cx="5175673" cy="707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b="1" i="0" dirty="0">
                <a:solidFill>
                  <a:srgbClr val="C91C15"/>
                </a:solidFill>
                <a:latin typeface="Avenir Next Regular"/>
                <a:cs typeface="Avenir Next Regular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 bwMode="auto">
          <a:xfrm>
            <a:off x="465144" y="2625756"/>
            <a:ext cx="5000558" cy="461665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7709" y="4716166"/>
            <a:ext cx="3024283" cy="181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34550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175" y="1665127"/>
            <a:ext cx="7772400" cy="1021556"/>
          </a:xfrm>
        </p:spPr>
        <p:txBody>
          <a:bodyPr anchor="t"/>
          <a:lstStyle>
            <a:lvl1pPr algn="l">
              <a:defRPr sz="4000" b="0" cap="all" baseline="0">
                <a:latin typeface="Avenir Next Regular"/>
                <a:cs typeface="Avenir Next Regular"/>
              </a:defRPr>
            </a:lvl1pPr>
          </a:lstStyle>
          <a:p>
            <a:r>
              <a:rPr lang="en-US" dirty="0" smtClean="0"/>
              <a:t>Separator / APPENDIX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4811059"/>
            <a:ext cx="9144000" cy="27384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latin typeface="Avenir Book"/>
                <a:cs typeface="Avenir Book"/>
              </a:rPr>
              <a:t>© 2014 Accenture All Rights Reserved</a:t>
            </a:r>
          </a:p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34014" y="4767263"/>
            <a:ext cx="2133600" cy="273844"/>
          </a:xfrm>
        </p:spPr>
        <p:txBody>
          <a:bodyPr/>
          <a:lstStyle/>
          <a:p>
            <a:fld id="{68F01A0F-09BA-8F4E-BAF1-40291A86EF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231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728" y="0"/>
            <a:ext cx="8708656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/>
            </a:lvl1pPr>
          </a:lstStyle>
          <a:p>
            <a:pPr lvl="0" algn="l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alphaModFix amt="2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7540"/>
          <a:stretch/>
        </p:blipFill>
        <p:spPr>
          <a:xfrm>
            <a:off x="0" y="1754"/>
            <a:ext cx="9141881" cy="75862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92" y="4766717"/>
            <a:ext cx="540423" cy="29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0158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 Cover">
    <p:bg>
      <p:bgPr>
        <a:gradFill flip="none" rotWithShape="1">
          <a:gsLst>
            <a:gs pos="49000">
              <a:schemeClr val="bg1"/>
            </a:gs>
            <a:gs pos="50000">
              <a:schemeClr val="accent6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6166834" y="0"/>
            <a:ext cx="2977166" cy="2451161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2451161"/>
            <a:ext cx="9144000" cy="294864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2489" y="1"/>
            <a:ext cx="5718208" cy="8267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 dirty="0"/>
            </a:lvl1pPr>
          </a:lstStyle>
          <a:p>
            <a:pPr lvl="0" algn="l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203201" y="2835077"/>
            <a:ext cx="2740602" cy="19983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50"/>
            </a:lvl1pPr>
            <a:lvl2pPr marL="174625" indent="0">
              <a:buNone/>
              <a:defRPr sz="1000"/>
            </a:lvl2pPr>
            <a:lvl3pPr marL="363538" indent="0">
              <a:buNone/>
              <a:defRPr sz="900"/>
            </a:lvl3pPr>
            <a:lvl4pPr marL="538163" indent="0">
              <a:buNone/>
              <a:defRPr sz="800"/>
            </a:lvl4pPr>
            <a:lvl5pPr marL="712787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166834" y="2835077"/>
            <a:ext cx="2740602" cy="19983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50"/>
            </a:lvl1pPr>
            <a:lvl2pPr marL="174625" indent="0">
              <a:buNone/>
              <a:defRPr sz="1000"/>
            </a:lvl2pPr>
            <a:lvl3pPr marL="363538" indent="0">
              <a:buNone/>
              <a:defRPr sz="900"/>
            </a:lvl3pPr>
            <a:lvl4pPr marL="538163" indent="0">
              <a:buNone/>
              <a:defRPr sz="800"/>
            </a:lvl4pPr>
            <a:lvl5pPr marL="712787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2"/>
          </p:nvPr>
        </p:nvSpPr>
        <p:spPr>
          <a:xfrm>
            <a:off x="3180094" y="2835077"/>
            <a:ext cx="2740602" cy="19983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50"/>
            </a:lvl1pPr>
            <a:lvl2pPr marL="174625" indent="0">
              <a:buNone/>
              <a:defRPr sz="1000"/>
            </a:lvl2pPr>
            <a:lvl3pPr marL="363538" indent="0">
              <a:buNone/>
              <a:defRPr sz="900"/>
            </a:lvl3pPr>
            <a:lvl4pPr marL="538163" indent="0">
              <a:buNone/>
              <a:defRPr sz="800"/>
            </a:lvl4pPr>
            <a:lvl5pPr marL="712787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202488" y="2490537"/>
            <a:ext cx="2741315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50" b="1" cap="small" normalizeH="0" dirty="0" smtClean="0">
                <a:solidFill>
                  <a:schemeClr val="accent1"/>
                </a:solidFill>
                <a:latin typeface="+mj-lt"/>
              </a:rPr>
              <a:t>business challeng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80094" y="2544056"/>
            <a:ext cx="2741315" cy="2019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50" b="1" cap="small" normalizeH="0" dirty="0" smtClean="0">
                <a:solidFill>
                  <a:schemeClr val="accent1"/>
                </a:solidFill>
                <a:latin typeface="+mj-lt"/>
              </a:rPr>
              <a:t>approach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166834" y="2533577"/>
            <a:ext cx="2741315" cy="2019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50" b="1" cap="small" normalizeH="0" dirty="0" smtClean="0">
                <a:solidFill>
                  <a:schemeClr val="accent1"/>
                </a:solidFill>
                <a:latin typeface="+mj-lt"/>
              </a:rPr>
              <a:t>outcom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2488" y="2748370"/>
            <a:ext cx="2741315" cy="0"/>
          </a:xfrm>
          <a:prstGeom prst="line">
            <a:avLst/>
          </a:prstGeom>
          <a:ln>
            <a:solidFill>
              <a:srgbClr val="CA2F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3180094" y="2748370"/>
            <a:ext cx="2741315" cy="0"/>
          </a:xfrm>
          <a:prstGeom prst="line">
            <a:avLst/>
          </a:prstGeom>
          <a:ln>
            <a:solidFill>
              <a:srgbClr val="CA2F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166834" y="2748370"/>
            <a:ext cx="2741315" cy="0"/>
          </a:xfrm>
          <a:prstGeom prst="line">
            <a:avLst/>
          </a:prstGeom>
          <a:ln>
            <a:solidFill>
              <a:srgbClr val="CA2F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7" name="Content Placeholder 26"/>
          <p:cNvSpPr>
            <a:spLocks noGrp="1"/>
          </p:cNvSpPr>
          <p:nvPr>
            <p:ph sz="quarter" idx="14"/>
          </p:nvPr>
        </p:nvSpPr>
        <p:spPr>
          <a:xfrm>
            <a:off x="203200" y="827088"/>
            <a:ext cx="5718175" cy="1397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400" dirty="0" smtClean="0"/>
            </a:lvl1pPr>
            <a:lvl2pPr>
              <a:defRPr lang="en-US" sz="1200" dirty="0" smtClean="0"/>
            </a:lvl2pPr>
            <a:lvl3pPr>
              <a:defRPr lang="en-US" sz="1100" dirty="0" smtClean="0"/>
            </a:lvl3pPr>
            <a:lvl4pPr>
              <a:defRPr lang="en-US" sz="1050" dirty="0" smtClean="0"/>
            </a:lvl4pPr>
            <a:lvl5pPr>
              <a:defRPr lang="en-US" sz="1050" dirty="0"/>
            </a:lvl5pPr>
          </a:lstStyle>
          <a:p>
            <a:pPr lvl="0">
              <a:buClr>
                <a:schemeClr val="accent1"/>
              </a:buClr>
              <a:buSzPct val="125000"/>
            </a:pPr>
            <a:r>
              <a:rPr lang="en-US" smtClean="0"/>
              <a:t>Click to edit Master text styles</a:t>
            </a:r>
          </a:p>
          <a:p>
            <a:pPr lvl="1">
              <a:buClr>
                <a:schemeClr val="accent1"/>
              </a:buClr>
              <a:buSzPct val="125000"/>
            </a:pPr>
            <a:r>
              <a:rPr lang="en-US" smtClean="0"/>
              <a:t>Second level</a:t>
            </a:r>
          </a:p>
          <a:p>
            <a:pPr lvl="2">
              <a:buClr>
                <a:schemeClr val="accent1"/>
              </a:buClr>
              <a:buSzPct val="125000"/>
            </a:pPr>
            <a:r>
              <a:rPr lang="en-US" smtClean="0"/>
              <a:t>Third level</a:t>
            </a:r>
          </a:p>
          <a:p>
            <a:pPr lvl="3">
              <a:buClr>
                <a:schemeClr val="accent1"/>
              </a:buClr>
              <a:buSzPct val="125000"/>
            </a:pPr>
            <a:r>
              <a:rPr lang="en-US" smtClean="0"/>
              <a:t>Fourth level</a:t>
            </a:r>
          </a:p>
          <a:p>
            <a:pPr lvl="4">
              <a:buClr>
                <a:schemeClr val="accent1"/>
              </a:buClr>
              <a:buSzPct val="125000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0" y="2439658"/>
            <a:ext cx="9144000" cy="20574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20000"/>
                </a:schemeClr>
              </a:gs>
              <a:gs pos="100000">
                <a:srgbClr val="FFFFFF"/>
              </a:gs>
              <a:gs pos="50000">
                <a:schemeClr val="bg1">
                  <a:lumMod val="75000"/>
                  <a:alpha val="60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5865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 Multi-Page (Alt)">
    <p:bg>
      <p:bgPr>
        <a:gradFill flip="none" rotWithShape="1">
          <a:gsLst>
            <a:gs pos="71000">
              <a:schemeClr val="bg1"/>
            </a:gs>
            <a:gs pos="72000">
              <a:schemeClr val="accent6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6403287" y="0"/>
            <a:ext cx="198908" cy="51435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207" y="-7253"/>
            <a:ext cx="6041782" cy="8267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/>
            </a:lvl1pPr>
          </a:lstStyle>
          <a:p>
            <a:pPr lvl="0" algn="l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963" y="1009650"/>
            <a:ext cx="6042025" cy="3825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smtClean="0"/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>
              <a:buClr>
                <a:schemeClr val="accent1"/>
              </a:buClr>
              <a:buSzPct val="125000"/>
            </a:pPr>
            <a:r>
              <a:rPr lang="en-US" smtClean="0"/>
              <a:t>Click to edit Master text styles</a:t>
            </a:r>
          </a:p>
          <a:p>
            <a:pPr lvl="1">
              <a:buClr>
                <a:schemeClr val="accent1"/>
              </a:buClr>
              <a:buSzPct val="125000"/>
            </a:pPr>
            <a:r>
              <a:rPr lang="en-US" smtClean="0"/>
              <a:t>Second level</a:t>
            </a:r>
          </a:p>
          <a:p>
            <a:pPr lvl="2">
              <a:buClr>
                <a:schemeClr val="accent1"/>
              </a:buClr>
              <a:buSzPct val="125000"/>
            </a:pPr>
            <a:r>
              <a:rPr lang="en-US" smtClean="0"/>
              <a:t>Third level</a:t>
            </a:r>
          </a:p>
          <a:p>
            <a:pPr lvl="3">
              <a:buClr>
                <a:schemeClr val="accent1"/>
              </a:buClr>
              <a:buSzPct val="125000"/>
            </a:pPr>
            <a:r>
              <a:rPr lang="en-US" smtClean="0"/>
              <a:t>Fourth level</a:t>
            </a:r>
          </a:p>
          <a:p>
            <a:pPr lvl="4">
              <a:buClr>
                <a:schemeClr val="accent1"/>
              </a:buClr>
              <a:buSzPct val="125000"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04023" y="-7253"/>
            <a:ext cx="0" cy="5150753"/>
          </a:xfrm>
          <a:prstGeom prst="line">
            <a:avLst/>
          </a:prstGeom>
          <a:ln w="9525" cmpd="sng">
            <a:solidFill>
              <a:srgbClr val="DBDBD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128893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27000" y="869938"/>
            <a:ext cx="8943975" cy="37036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9719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580208"/>
          </a:xfrm>
        </p:spPr>
        <p:txBody>
          <a:bodyPr/>
          <a:lstStyle>
            <a:lvl1pPr>
              <a:defRPr b="1">
                <a:solidFill>
                  <a:srgbClr val="C91C1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26999" y="1302202"/>
            <a:ext cx="8943975" cy="327894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6999" y="695192"/>
            <a:ext cx="894397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0" i="1" dirty="0" smtClean="0">
                <a:solidFill>
                  <a:srgbClr val="CA2F31"/>
                </a:solidFill>
                <a:latin typeface="Avenir Book"/>
                <a:cs typeface="Avenir Book"/>
              </a:rPr>
              <a:t>Tagline</a:t>
            </a:r>
            <a:endParaRPr lang="en-US" b="0" i="1" dirty="0">
              <a:solidFill>
                <a:srgbClr val="CA2F31"/>
              </a:solidFill>
              <a:latin typeface="Avenir Book"/>
              <a:cs typeface="Avenir Book"/>
            </a:endParaRPr>
          </a:p>
        </p:txBody>
      </p:sp>
    </p:spTree>
    <p:extLst>
      <p:ext uri="{BB962C8B-B14F-4D97-AF65-F5344CB8AC3E}">
        <p14:creationId xmlns:p14="http://schemas.microsoft.com/office/powerpoint/2010/main" val="398454849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999" y="958454"/>
            <a:ext cx="4370389" cy="479822"/>
          </a:xfrm>
        </p:spPr>
        <p:txBody>
          <a:bodyPr anchor="b">
            <a:normAutofit/>
          </a:bodyPr>
          <a:lstStyle>
            <a:lvl1pPr marL="0" indent="0" algn="ctr"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6999" y="1511198"/>
            <a:ext cx="4370389" cy="308342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958454"/>
            <a:ext cx="4426499" cy="479822"/>
          </a:xfrm>
        </p:spPr>
        <p:txBody>
          <a:bodyPr anchor="b">
            <a:normAutofit/>
          </a:bodyPr>
          <a:lstStyle>
            <a:lvl1pPr marL="0" indent="0" algn="ctr"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511198"/>
            <a:ext cx="4426499" cy="308342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26999" y="1438276"/>
            <a:ext cx="437038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49788" y="1438276"/>
            <a:ext cx="442173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A1828D9B-DF96-5D4D-B597-11E62A497BD9}" type="slidenum">
              <a:rPr lang="en-US" smtClean="0"/>
              <a:pPr defTabSz="91440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4598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 Cover">
    <p:bg>
      <p:bgPr>
        <a:gradFill flip="none" rotWithShape="1">
          <a:gsLst>
            <a:gs pos="49000">
              <a:schemeClr val="bg1"/>
            </a:gs>
            <a:gs pos="50000">
              <a:schemeClr val="accent6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6166834" y="96553"/>
            <a:ext cx="2977166" cy="2354608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2451161"/>
            <a:ext cx="9144000" cy="294864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30627" y="96553"/>
            <a:ext cx="5767350" cy="7472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dirty="0"/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203201" y="2835077"/>
            <a:ext cx="2740602" cy="16858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50"/>
            </a:lvl1pPr>
            <a:lvl2pPr marL="174625" indent="0">
              <a:buNone/>
              <a:defRPr sz="1000"/>
            </a:lvl2pPr>
            <a:lvl3pPr marL="363538" indent="0">
              <a:buNone/>
              <a:defRPr sz="900"/>
            </a:lvl3pPr>
            <a:lvl4pPr marL="538163" indent="0">
              <a:buNone/>
              <a:defRPr sz="800"/>
            </a:lvl4pPr>
            <a:lvl5pPr marL="712787" indent="0">
              <a:buNone/>
              <a:defRPr sz="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166834" y="2835077"/>
            <a:ext cx="2740602" cy="16858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50"/>
            </a:lvl1pPr>
            <a:lvl2pPr marL="174625" indent="0">
              <a:buNone/>
              <a:defRPr sz="1000"/>
            </a:lvl2pPr>
            <a:lvl3pPr marL="363538" indent="0">
              <a:buNone/>
              <a:defRPr sz="900"/>
            </a:lvl3pPr>
            <a:lvl4pPr marL="538163" indent="0">
              <a:buNone/>
              <a:defRPr sz="800"/>
            </a:lvl4pPr>
            <a:lvl5pPr marL="712787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2"/>
          </p:nvPr>
        </p:nvSpPr>
        <p:spPr>
          <a:xfrm>
            <a:off x="3180094" y="2835077"/>
            <a:ext cx="2740602" cy="16858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50"/>
            </a:lvl1pPr>
            <a:lvl2pPr marL="174625" indent="0">
              <a:buNone/>
              <a:defRPr sz="1000"/>
            </a:lvl2pPr>
            <a:lvl3pPr marL="363538" indent="0">
              <a:buNone/>
              <a:defRPr sz="900"/>
            </a:lvl3pPr>
            <a:lvl4pPr marL="538163" indent="0">
              <a:buNone/>
              <a:defRPr sz="800"/>
            </a:lvl4pPr>
            <a:lvl5pPr marL="712787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202488" y="2490537"/>
            <a:ext cx="2741315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50" b="1" cap="small" normalizeH="0" dirty="0" smtClean="0">
                <a:solidFill>
                  <a:schemeClr val="accent1"/>
                </a:solidFill>
                <a:latin typeface="+mj-lt"/>
              </a:rPr>
              <a:t>business challeng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80094" y="2544056"/>
            <a:ext cx="2741315" cy="2019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50" b="1" cap="small" normalizeH="0" dirty="0" smtClean="0">
                <a:solidFill>
                  <a:schemeClr val="accent1"/>
                </a:solidFill>
                <a:latin typeface="+mj-lt"/>
              </a:rPr>
              <a:t>approach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166834" y="2533577"/>
            <a:ext cx="2741315" cy="2019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50" b="1" cap="small" normalizeH="0" dirty="0" smtClean="0">
                <a:solidFill>
                  <a:schemeClr val="accent1"/>
                </a:solidFill>
                <a:latin typeface="+mj-lt"/>
              </a:rPr>
              <a:t>outcom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2488" y="2748370"/>
            <a:ext cx="2741315" cy="0"/>
          </a:xfrm>
          <a:prstGeom prst="line">
            <a:avLst/>
          </a:prstGeom>
          <a:ln>
            <a:solidFill>
              <a:srgbClr val="CA2F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3180094" y="2748370"/>
            <a:ext cx="2741315" cy="0"/>
          </a:xfrm>
          <a:prstGeom prst="line">
            <a:avLst/>
          </a:prstGeom>
          <a:ln>
            <a:solidFill>
              <a:srgbClr val="CA2F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166834" y="2748370"/>
            <a:ext cx="2741315" cy="0"/>
          </a:xfrm>
          <a:prstGeom prst="line">
            <a:avLst/>
          </a:prstGeom>
          <a:ln>
            <a:solidFill>
              <a:srgbClr val="CA2F3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7" name="Content Placeholder 26"/>
          <p:cNvSpPr>
            <a:spLocks noGrp="1"/>
          </p:cNvSpPr>
          <p:nvPr>
            <p:ph sz="quarter" idx="14"/>
          </p:nvPr>
        </p:nvSpPr>
        <p:spPr>
          <a:xfrm>
            <a:off x="130627" y="861168"/>
            <a:ext cx="5768028" cy="1397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400" dirty="0" smtClean="0"/>
            </a:lvl1pPr>
            <a:lvl2pPr>
              <a:defRPr lang="en-US" sz="1200" dirty="0" smtClean="0"/>
            </a:lvl2pPr>
            <a:lvl3pPr>
              <a:defRPr lang="en-US" sz="1100" dirty="0" smtClean="0"/>
            </a:lvl3pPr>
            <a:lvl4pPr>
              <a:defRPr lang="en-US" sz="1050" dirty="0" smtClean="0"/>
            </a:lvl4pPr>
            <a:lvl5pPr>
              <a:defRPr lang="en-US" sz="1050" dirty="0"/>
            </a:lvl5pPr>
          </a:lstStyle>
          <a:p>
            <a:pPr lvl="0">
              <a:buClr>
                <a:schemeClr val="accent1"/>
              </a:buClr>
              <a:buSzPct val="125000"/>
            </a:pPr>
            <a:r>
              <a:rPr lang="en-US" dirty="0" smtClean="0"/>
              <a:t>Click to edit Master text styles</a:t>
            </a:r>
          </a:p>
          <a:p>
            <a:pPr lvl="1">
              <a:buClr>
                <a:schemeClr val="accent1"/>
              </a:buClr>
              <a:buSzPct val="125000"/>
            </a:pPr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SzPct val="125000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  <a:buSzPct val="125000"/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  <a:buSzPct val="125000"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0" y="2439658"/>
            <a:ext cx="9144000" cy="20574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20000"/>
                </a:schemeClr>
              </a:gs>
              <a:gs pos="100000">
                <a:srgbClr val="FFFFFF"/>
              </a:gs>
              <a:gs pos="50000">
                <a:schemeClr val="bg1">
                  <a:lumMod val="75000"/>
                  <a:alpha val="60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9688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728" y="0"/>
            <a:ext cx="8708656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/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alphaModFix amt="2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55"/>
            <a:ext cx="9141881" cy="51417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92" y="4766717"/>
            <a:ext cx="540423" cy="29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1494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3582" y="79511"/>
            <a:ext cx="8808592" cy="768133"/>
          </a:xfrm>
        </p:spPr>
        <p:txBody>
          <a:bodyPr anchor="t">
            <a:normAutofit/>
          </a:bodyPr>
          <a:lstStyle>
            <a:lvl1pPr algn="l">
              <a:defRPr sz="2400" b="1" i="0">
                <a:solidFill>
                  <a:srgbClr val="C10008"/>
                </a:solidFill>
                <a:latin typeface="Avenir Next Regular"/>
                <a:cs typeface="Avenir Next Regular"/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113" y="847645"/>
            <a:ext cx="8808061" cy="3735618"/>
          </a:xfrm>
        </p:spPr>
        <p:txBody>
          <a:bodyPr/>
          <a:lstStyle>
            <a:lvl1pPr>
              <a:defRPr>
                <a:latin typeface="Avenir Next Regular"/>
                <a:cs typeface="Avenir Next Regular"/>
              </a:defRPr>
            </a:lvl1pPr>
            <a:lvl2pPr>
              <a:defRPr>
                <a:latin typeface="Avenir Next Regular"/>
                <a:cs typeface="Avenir Next Regular"/>
              </a:defRPr>
            </a:lvl2pPr>
            <a:lvl3pPr>
              <a:defRPr>
                <a:latin typeface="Avenir Next Regular"/>
                <a:cs typeface="Avenir Next Regular"/>
              </a:defRPr>
            </a:lvl3pPr>
            <a:lvl4pPr>
              <a:defRPr>
                <a:latin typeface="Avenir Next Regular"/>
                <a:cs typeface="Avenir Next Regular"/>
              </a:defRPr>
            </a:lvl4pPr>
            <a:lvl5pPr>
              <a:defRPr>
                <a:latin typeface="Avenir Next Regular"/>
                <a:cs typeface="Avenir Next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34014" y="4767263"/>
            <a:ext cx="2133600" cy="273844"/>
          </a:xfrm>
        </p:spPr>
        <p:txBody>
          <a:bodyPr/>
          <a:lstStyle/>
          <a:p>
            <a:fld id="{68F01A0F-09BA-8F4E-BAF1-40291A86EF3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4811059"/>
            <a:ext cx="9144000" cy="27384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latin typeface="Avenir Book"/>
                <a:cs typeface="Avenir Book"/>
              </a:rPr>
              <a:t>© 2014 Accenture All Rights Reserv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224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 Multi-Page (Alt)">
    <p:bg>
      <p:bgPr>
        <a:gradFill flip="none" rotWithShape="1">
          <a:gsLst>
            <a:gs pos="71000">
              <a:schemeClr val="bg1"/>
            </a:gs>
            <a:gs pos="72000">
              <a:schemeClr val="accent6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6403287" y="0"/>
            <a:ext cx="198908" cy="51435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207" y="-7253"/>
            <a:ext cx="6041782" cy="8267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/>
            </a:lvl1pPr>
          </a:lstStyle>
          <a:p>
            <a:pPr lvl="0" algn="l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963" y="1009650"/>
            <a:ext cx="6042025" cy="3825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smtClean="0"/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>
              <a:buClr>
                <a:schemeClr val="accent1"/>
              </a:buClr>
              <a:buSzPct val="125000"/>
            </a:pPr>
            <a:r>
              <a:rPr lang="en-US" smtClean="0"/>
              <a:t>Click to edit Master text styles</a:t>
            </a:r>
          </a:p>
          <a:p>
            <a:pPr lvl="1">
              <a:buClr>
                <a:schemeClr val="accent1"/>
              </a:buClr>
              <a:buSzPct val="125000"/>
            </a:pPr>
            <a:r>
              <a:rPr lang="en-US" smtClean="0"/>
              <a:t>Second level</a:t>
            </a:r>
          </a:p>
          <a:p>
            <a:pPr lvl="2">
              <a:buClr>
                <a:schemeClr val="accent1"/>
              </a:buClr>
              <a:buSzPct val="125000"/>
            </a:pPr>
            <a:r>
              <a:rPr lang="en-US" smtClean="0"/>
              <a:t>Third level</a:t>
            </a:r>
          </a:p>
          <a:p>
            <a:pPr lvl="3">
              <a:buClr>
                <a:schemeClr val="accent1"/>
              </a:buClr>
              <a:buSzPct val="125000"/>
            </a:pPr>
            <a:r>
              <a:rPr lang="en-US" smtClean="0"/>
              <a:t>Fourth level</a:t>
            </a:r>
          </a:p>
          <a:p>
            <a:pPr lvl="4">
              <a:buClr>
                <a:schemeClr val="accent1"/>
              </a:buClr>
              <a:buSzPct val="125000"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04023" y="-7253"/>
            <a:ext cx="0" cy="5150753"/>
          </a:xfrm>
          <a:prstGeom prst="line">
            <a:avLst/>
          </a:prstGeom>
          <a:ln w="9525" cmpd="sng">
            <a:solidFill>
              <a:srgbClr val="DBDBD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27521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3582" y="79511"/>
            <a:ext cx="8808592" cy="768133"/>
          </a:xfrm>
        </p:spPr>
        <p:txBody>
          <a:bodyPr anchor="t">
            <a:normAutofit/>
          </a:bodyPr>
          <a:lstStyle>
            <a:lvl1pPr algn="l">
              <a:defRPr sz="2400">
                <a:solidFill>
                  <a:srgbClr val="C10008"/>
                </a:solidFill>
                <a:latin typeface="Avenir Next Regular"/>
                <a:cs typeface="Avenir Next Regular"/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113" y="847645"/>
            <a:ext cx="8808061" cy="3735618"/>
          </a:xfrm>
        </p:spPr>
        <p:txBody>
          <a:bodyPr/>
          <a:lstStyle>
            <a:lvl1pPr>
              <a:defRPr>
                <a:latin typeface="Avenir Next Regular"/>
                <a:cs typeface="Avenir Next Regular"/>
              </a:defRPr>
            </a:lvl1pPr>
            <a:lvl2pPr>
              <a:defRPr>
                <a:latin typeface="Avenir Next Regular"/>
                <a:cs typeface="Avenir Next Regular"/>
              </a:defRPr>
            </a:lvl2pPr>
            <a:lvl3pPr>
              <a:defRPr>
                <a:latin typeface="Avenir Next Regular"/>
                <a:cs typeface="Avenir Next Regular"/>
              </a:defRPr>
            </a:lvl3pPr>
            <a:lvl4pPr>
              <a:defRPr>
                <a:latin typeface="Avenir Next Regular"/>
                <a:cs typeface="Avenir Next Regular"/>
              </a:defRPr>
            </a:lvl4pPr>
            <a:lvl5pPr>
              <a:defRPr>
                <a:latin typeface="Avenir Next Regular"/>
                <a:cs typeface="Avenir Next Regular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34014" y="4767263"/>
            <a:ext cx="2133600" cy="273844"/>
          </a:xfrm>
        </p:spPr>
        <p:txBody>
          <a:bodyPr/>
          <a:lstStyle/>
          <a:p>
            <a:fld id="{68F01A0F-09BA-8F4E-BAF1-40291A86EF3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4811059"/>
            <a:ext cx="9144000" cy="27384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latin typeface="Avenir Book"/>
                <a:cs typeface="Avenir Book"/>
              </a:rPr>
              <a:t>© 2014 Accenture All Rights Reserv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308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7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-6350"/>
            <a:ext cx="9144000" cy="4706874"/>
            <a:chOff x="0" y="-8467"/>
            <a:chExt cx="9144000" cy="6275832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6239933"/>
              <a:ext cx="9144000" cy="27432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20000"/>
                  </a:schemeClr>
                </a:gs>
                <a:gs pos="100000">
                  <a:srgbClr val="FFFFFF"/>
                </a:gs>
                <a:gs pos="50000">
                  <a:schemeClr val="bg1">
                    <a:lumMod val="75000"/>
                    <a:alpha val="6000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-8467"/>
              <a:ext cx="9144000" cy="6248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Rectangle 14"/>
          <p:cNvSpPr/>
          <p:nvPr/>
        </p:nvSpPr>
        <p:spPr>
          <a:xfrm>
            <a:off x="0" y="4679950"/>
            <a:ext cx="9144000" cy="20574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20000"/>
                </a:schemeClr>
              </a:gs>
              <a:gs pos="100000">
                <a:srgbClr val="FFFFFF"/>
              </a:gs>
              <a:gs pos="50000">
                <a:schemeClr val="bg1">
                  <a:lumMod val="75000"/>
                  <a:alpha val="60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76873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999" y="869938"/>
            <a:ext cx="8944526" cy="3810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4" name="Picture 3" descr="Screen Shot 2014-01-08 at 11.11.05 AM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40369"/>
            <a:ext cx="694413" cy="371475"/>
          </a:xfrm>
          <a:prstGeom prst="rect">
            <a:avLst/>
          </a:prstGeom>
        </p:spPr>
      </p:pic>
      <p:sp>
        <p:nvSpPr>
          <p:cNvPr id="18" name="AMC_Footer"/>
          <p:cNvSpPr txBox="1">
            <a:spLocks/>
          </p:cNvSpPr>
          <p:nvPr/>
        </p:nvSpPr>
        <p:spPr>
          <a:xfrm>
            <a:off x="782829" y="4887860"/>
            <a:ext cx="2429787" cy="162061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Accenture, LLP. All rights reserved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3914" y="4777177"/>
            <a:ext cx="5168304" cy="274637"/>
          </a:xfrm>
          <a:prstGeom prst="rect">
            <a:avLst/>
          </a:prstGeom>
        </p:spPr>
        <p:txBody>
          <a:bodyPr lIns="0" tIns="36000" rIns="0" bIns="0" anchor="b">
            <a:noAutofit/>
          </a:bodyPr>
          <a:lstStyle>
            <a:lvl1pPr algn="ctr">
              <a:defRPr kumimoji="0" lang="en-US" sz="800" b="0" i="0" u="none" strike="noStrike" cap="none" spc="0" normalizeH="0" baseline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12973" y="4767263"/>
            <a:ext cx="358552" cy="274637"/>
          </a:xfrm>
          <a:prstGeom prst="rect">
            <a:avLst/>
          </a:prstGeom>
        </p:spPr>
        <p:txBody>
          <a:bodyPr lIns="0" tIns="36000" rIns="0" bIns="0" anchor="b">
            <a:noAutofit/>
          </a:bodyPr>
          <a:lstStyle>
            <a:lvl1pPr algn="r">
              <a:defRPr kumimoji="0" lang="en-US" sz="800" b="0" i="0" u="none" strike="noStrike" cap="none" spc="0" normalizeH="0" baseline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defTabSz="914400"/>
            <a:fld id="{A1828D9B-DF96-5D4D-B597-11E62A497BD9}" type="slidenum">
              <a:rPr lang="en-US" smtClean="0"/>
              <a:pPr defTabSz="91440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50" r:id="rId4"/>
    <p:sldLayoutId id="2147483765" r:id="rId5"/>
    <p:sldLayoutId id="2147483778" r:id="rId6"/>
    <p:sldLayoutId id="2147483779" r:id="rId7"/>
    <p:sldLayoutId id="2147483782" r:id="rId8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tx2">
              <a:lumMod val="75000"/>
            </a:schemeClr>
          </a:solidFill>
          <a:latin typeface="Avenir Next Regular"/>
          <a:ea typeface="+mj-ea"/>
          <a:cs typeface="Avenir Next Regular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1"/>
        </a:buClr>
        <a:buSzPct val="125000"/>
        <a:buFont typeface="Arial"/>
        <a:buChar char="•"/>
        <a:defRPr sz="2000" b="0" i="0" kern="1200">
          <a:solidFill>
            <a:schemeClr val="tx1"/>
          </a:solidFill>
          <a:latin typeface="Avenir Next Regular"/>
          <a:ea typeface="+mn-ea"/>
          <a:cs typeface="Avenir Next Regular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800" b="0" i="0" kern="1200">
          <a:solidFill>
            <a:schemeClr val="tx1"/>
          </a:solidFill>
          <a:latin typeface="Avenir Next Regular"/>
          <a:ea typeface="+mn-ea"/>
          <a:cs typeface="Avenir Next Regular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1800" b="0" i="0" kern="1200">
          <a:solidFill>
            <a:schemeClr val="tx1"/>
          </a:solidFill>
          <a:latin typeface="Avenir Next Regular"/>
          <a:ea typeface="+mn-ea"/>
          <a:cs typeface="Avenir Next Regular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1600" b="0" i="0" kern="1200">
          <a:solidFill>
            <a:schemeClr val="tx1"/>
          </a:solidFill>
          <a:latin typeface="Avenir Next Regular"/>
          <a:ea typeface="+mn-ea"/>
          <a:cs typeface="Avenir Next Regular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»"/>
        <a:defRPr sz="1400" b="0" i="0" kern="1200">
          <a:solidFill>
            <a:schemeClr val="tx2"/>
          </a:solidFill>
          <a:latin typeface="Avenir Next Regular"/>
          <a:ea typeface="+mn-ea"/>
          <a:cs typeface="Avenir Next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MC_Footer"/>
          <p:cNvSpPr txBox="1">
            <a:spLocks/>
          </p:cNvSpPr>
          <p:nvPr/>
        </p:nvSpPr>
        <p:spPr>
          <a:xfrm>
            <a:off x="782829" y="4887860"/>
            <a:ext cx="2429787" cy="162061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Accenture, LLP. All rights reserved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917384" y="4767263"/>
            <a:ext cx="155928" cy="274637"/>
          </a:xfrm>
          <a:prstGeom prst="rect">
            <a:avLst/>
          </a:prstGeom>
        </p:spPr>
        <p:txBody>
          <a:bodyPr lIns="0" tIns="36000" rIns="0" bIns="0" anchor="b">
            <a:noAutofit/>
          </a:bodyPr>
          <a:lstStyle>
            <a:lvl1pPr algn="r">
              <a:defRPr kumimoji="0" lang="en-US" sz="80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fld id="{FE3CF6C0-23A2-0245-B644-16D86A3C75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</p:nvPr>
        </p:nvSpPr>
        <p:spPr>
          <a:xfrm>
            <a:off x="3124199" y="4767263"/>
            <a:ext cx="5793185" cy="274637"/>
          </a:xfrm>
          <a:prstGeom prst="rect">
            <a:avLst/>
          </a:prstGeom>
        </p:spPr>
        <p:txBody>
          <a:bodyPr lIns="0" tIns="36000" rIns="0" bIns="0" anchor="b">
            <a:noAutofit/>
          </a:bodyPr>
          <a:lstStyle>
            <a:lvl1pPr algn="ctr">
              <a:defRPr kumimoji="0" lang="en-US" sz="8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>
          <a:xfrm>
            <a:off x="110092" y="870173"/>
            <a:ext cx="8807292" cy="38701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buClr>
                <a:schemeClr val="accent1"/>
              </a:buClr>
              <a:buSzPct val="125000"/>
            </a:pPr>
            <a:r>
              <a:rPr lang="en-US" dirty="0" smtClean="0"/>
              <a:t>Click to edit Master text styles</a:t>
            </a:r>
          </a:p>
          <a:p>
            <a:pPr lvl="1">
              <a:buClr>
                <a:schemeClr val="accent1"/>
              </a:buClr>
              <a:buSzPct val="125000"/>
            </a:pPr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SzPct val="125000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  <a:buSzPct val="125000"/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  <a:buSzPct val="125000"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0092" y="79513"/>
            <a:ext cx="8807292" cy="7906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92" y="4766717"/>
            <a:ext cx="540423" cy="29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399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62" r:id="rId3"/>
    <p:sldLayoutId id="2147483780" r:id="rId4"/>
    <p:sldLayoutId id="2147483781" r:id="rId5"/>
  </p:sldLayoutIdLst>
  <p:transition xmlns:p14="http://schemas.microsoft.com/office/powerpoint/2010/main">
    <p:fade/>
  </p:transition>
  <p:hf hdr="0" dt="0"/>
  <p:txStyles>
    <p:titleStyle>
      <a:lvl1pPr algn="l" defTabSz="457200" rtl="0" eaLnBrk="1" latinLnBrk="0" hangingPunct="1">
        <a:spcBef>
          <a:spcPct val="0"/>
        </a:spcBef>
        <a:buNone/>
        <a:defRPr lang="en-US" sz="2400" b="1" kern="1200">
          <a:solidFill>
            <a:srgbClr val="C91C15"/>
          </a:solidFill>
          <a:latin typeface="Avenir Next Regular"/>
          <a:ea typeface="+mj-ea"/>
          <a:cs typeface="Avenir Next Regular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lang="en-US" sz="2000" b="0" i="0" kern="1200" smtClean="0">
          <a:solidFill>
            <a:schemeClr val="tx1"/>
          </a:solidFill>
          <a:latin typeface="Avenir Next Regular"/>
          <a:ea typeface="+mn-ea"/>
          <a:cs typeface="Avenir Next Regular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lang="en-US" sz="1800" b="0" i="0" kern="1200" smtClean="0">
          <a:solidFill>
            <a:schemeClr val="tx1"/>
          </a:solidFill>
          <a:latin typeface="Avenir Next Regular"/>
          <a:ea typeface="+mn-ea"/>
          <a:cs typeface="Avenir Next Regular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lang="en-US" sz="1600" b="0" i="0" kern="1200" smtClean="0">
          <a:solidFill>
            <a:schemeClr val="tx1"/>
          </a:solidFill>
          <a:latin typeface="Avenir Next Regular"/>
          <a:ea typeface="+mn-ea"/>
          <a:cs typeface="Avenir Next Regular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en-US" sz="1400" b="0" i="0" kern="1200" smtClean="0">
          <a:solidFill>
            <a:schemeClr val="tx1"/>
          </a:solidFill>
          <a:latin typeface="Avenir Next Regular"/>
          <a:ea typeface="+mn-ea"/>
          <a:cs typeface="Avenir Next Regular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en-US" sz="1400" b="0" i="0" kern="1200">
          <a:solidFill>
            <a:schemeClr val="tx2"/>
          </a:solidFill>
          <a:latin typeface="Avenir Next Regular"/>
          <a:ea typeface="+mn-ea"/>
          <a:cs typeface="Avenir Next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53.png"/><Relationship Id="rId20" Type="http://schemas.openxmlformats.org/officeDocument/2006/relationships/image" Target="../media/image64.png"/><Relationship Id="rId21" Type="http://schemas.openxmlformats.org/officeDocument/2006/relationships/image" Target="../media/image65.png"/><Relationship Id="rId10" Type="http://schemas.openxmlformats.org/officeDocument/2006/relationships/image" Target="../media/image54.png"/><Relationship Id="rId11" Type="http://schemas.openxmlformats.org/officeDocument/2006/relationships/image" Target="../media/image55.png"/><Relationship Id="rId12" Type="http://schemas.openxmlformats.org/officeDocument/2006/relationships/image" Target="../media/image56.png"/><Relationship Id="rId13" Type="http://schemas.openxmlformats.org/officeDocument/2006/relationships/image" Target="../media/image57.png"/><Relationship Id="rId14" Type="http://schemas.openxmlformats.org/officeDocument/2006/relationships/image" Target="../media/image58.png"/><Relationship Id="rId15" Type="http://schemas.openxmlformats.org/officeDocument/2006/relationships/image" Target="../media/image59.png"/><Relationship Id="rId16" Type="http://schemas.openxmlformats.org/officeDocument/2006/relationships/image" Target="../media/image60.png"/><Relationship Id="rId17" Type="http://schemas.openxmlformats.org/officeDocument/2006/relationships/image" Target="../media/image61.png"/><Relationship Id="rId18" Type="http://schemas.openxmlformats.org/officeDocument/2006/relationships/image" Target="../media/image62.png"/><Relationship Id="rId19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Relationship Id="rId3" Type="http://schemas.openxmlformats.org/officeDocument/2006/relationships/image" Target="../media/image47.png"/><Relationship Id="rId4" Type="http://schemas.openxmlformats.org/officeDocument/2006/relationships/image" Target="../media/image48.png"/><Relationship Id="rId5" Type="http://schemas.openxmlformats.org/officeDocument/2006/relationships/image" Target="../media/image49.png"/><Relationship Id="rId6" Type="http://schemas.openxmlformats.org/officeDocument/2006/relationships/image" Target="../media/image50.png"/><Relationship Id="rId7" Type="http://schemas.openxmlformats.org/officeDocument/2006/relationships/image" Target="../media/image51.png"/><Relationship Id="rId8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4" Type="http://schemas.openxmlformats.org/officeDocument/2006/relationships/image" Target="../media/image68.png"/><Relationship Id="rId5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0.png"/><Relationship Id="rId3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4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4.png"/><Relationship Id="rId12" Type="http://schemas.openxmlformats.org/officeDocument/2006/relationships/image" Target="../media/image85.png"/><Relationship Id="rId13" Type="http://schemas.openxmlformats.org/officeDocument/2006/relationships/image" Target="../media/image86.png"/><Relationship Id="rId14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5.png"/><Relationship Id="rId3" Type="http://schemas.openxmlformats.org/officeDocument/2006/relationships/image" Target="../media/image76.png"/><Relationship Id="rId4" Type="http://schemas.openxmlformats.org/officeDocument/2006/relationships/image" Target="../media/image77.png"/><Relationship Id="rId5" Type="http://schemas.openxmlformats.org/officeDocument/2006/relationships/image" Target="../media/image78.png"/><Relationship Id="rId6" Type="http://schemas.openxmlformats.org/officeDocument/2006/relationships/image" Target="../media/image79.png"/><Relationship Id="rId7" Type="http://schemas.openxmlformats.org/officeDocument/2006/relationships/image" Target="../media/image80.png"/><Relationship Id="rId8" Type="http://schemas.openxmlformats.org/officeDocument/2006/relationships/image" Target="../media/image81.png"/><Relationship Id="rId9" Type="http://schemas.openxmlformats.org/officeDocument/2006/relationships/image" Target="../media/image82.png"/><Relationship Id="rId10" Type="http://schemas.openxmlformats.org/officeDocument/2006/relationships/image" Target="../media/image8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7.png"/><Relationship Id="rId12" Type="http://schemas.openxmlformats.org/officeDocument/2006/relationships/image" Target="../media/image98.png"/><Relationship Id="rId13" Type="http://schemas.openxmlformats.org/officeDocument/2006/relationships/image" Target="../media/image99.png"/><Relationship Id="rId14" Type="http://schemas.openxmlformats.org/officeDocument/2006/relationships/image" Target="../media/image100.png"/><Relationship Id="rId15" Type="http://schemas.openxmlformats.org/officeDocument/2006/relationships/image" Target="../media/image101.png"/><Relationship Id="rId16" Type="http://schemas.openxmlformats.org/officeDocument/2006/relationships/image" Target="../media/image102.png"/><Relationship Id="rId17" Type="http://schemas.openxmlformats.org/officeDocument/2006/relationships/image" Target="../media/image103.png"/><Relationship Id="rId18" Type="http://schemas.openxmlformats.org/officeDocument/2006/relationships/image" Target="../media/image104.png"/><Relationship Id="rId19" Type="http://schemas.openxmlformats.org/officeDocument/2006/relationships/image" Target="../media/image10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8.png"/><Relationship Id="rId3" Type="http://schemas.openxmlformats.org/officeDocument/2006/relationships/image" Target="../media/image89.png"/><Relationship Id="rId4" Type="http://schemas.openxmlformats.org/officeDocument/2006/relationships/image" Target="../media/image90.png"/><Relationship Id="rId5" Type="http://schemas.openxmlformats.org/officeDocument/2006/relationships/image" Target="../media/image91.png"/><Relationship Id="rId6" Type="http://schemas.openxmlformats.org/officeDocument/2006/relationships/image" Target="../media/image92.png"/><Relationship Id="rId7" Type="http://schemas.openxmlformats.org/officeDocument/2006/relationships/image" Target="../media/image93.png"/><Relationship Id="rId8" Type="http://schemas.openxmlformats.org/officeDocument/2006/relationships/image" Target="../media/image94.png"/><Relationship Id="rId9" Type="http://schemas.openxmlformats.org/officeDocument/2006/relationships/image" Target="../media/image95.png"/><Relationship Id="rId10" Type="http://schemas.openxmlformats.org/officeDocument/2006/relationships/image" Target="../media/image96.png"/></Relationships>
</file>

<file path=ppt/slides/_rels/slide2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9.png"/><Relationship Id="rId12" Type="http://schemas.openxmlformats.org/officeDocument/2006/relationships/image" Target="../media/image111.png"/><Relationship Id="rId13" Type="http://schemas.openxmlformats.org/officeDocument/2006/relationships/image" Target="../media/image112.png"/><Relationship Id="rId14" Type="http://schemas.openxmlformats.org/officeDocument/2006/relationships/image" Target="../media/image113.png"/><Relationship Id="rId15" Type="http://schemas.openxmlformats.org/officeDocument/2006/relationships/image" Target="../media/image114.png"/><Relationship Id="rId16" Type="http://schemas.microsoft.com/office/2007/relationships/hdphoto" Target="../media/hdphoto4.wdp"/><Relationship Id="rId17" Type="http://schemas.openxmlformats.org/officeDocument/2006/relationships/image" Target="../media/image115.jpeg"/><Relationship Id="rId18" Type="http://schemas.microsoft.com/office/2007/relationships/hdphoto" Target="../media/hdphoto5.wdp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6.jpeg"/><Relationship Id="rId3" Type="http://schemas.microsoft.com/office/2007/relationships/hdphoto" Target="../media/hdphoto1.wdp"/><Relationship Id="rId4" Type="http://schemas.openxmlformats.org/officeDocument/2006/relationships/image" Target="../media/image107.png"/><Relationship Id="rId5" Type="http://schemas.microsoft.com/office/2007/relationships/hdphoto" Target="../media/hdphoto2.wdp"/><Relationship Id="rId6" Type="http://schemas.openxmlformats.org/officeDocument/2006/relationships/image" Target="../media/image108.png"/><Relationship Id="rId7" Type="http://schemas.openxmlformats.org/officeDocument/2006/relationships/image" Target="../media/image109.png"/><Relationship Id="rId8" Type="http://schemas.microsoft.com/office/2007/relationships/hdphoto" Target="../media/hdphoto3.wdp"/><Relationship Id="rId9" Type="http://schemas.openxmlformats.org/officeDocument/2006/relationships/image" Target="../media/image110.png"/><Relationship Id="rId10" Type="http://schemas.openxmlformats.org/officeDocument/2006/relationships/image" Target="../media/image9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6.png"/><Relationship Id="rId12" Type="http://schemas.openxmlformats.org/officeDocument/2006/relationships/image" Target="../media/image124.png"/><Relationship Id="rId13" Type="http://schemas.openxmlformats.org/officeDocument/2006/relationships/image" Target="../media/image125.png"/><Relationship Id="rId14" Type="http://schemas.openxmlformats.org/officeDocument/2006/relationships/image" Target="../media/image126.png"/><Relationship Id="rId15" Type="http://schemas.openxmlformats.org/officeDocument/2006/relationships/image" Target="../media/image12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0.png"/><Relationship Id="rId3" Type="http://schemas.openxmlformats.org/officeDocument/2006/relationships/image" Target="../media/image116.png"/><Relationship Id="rId4" Type="http://schemas.openxmlformats.org/officeDocument/2006/relationships/image" Target="../media/image117.png"/><Relationship Id="rId5" Type="http://schemas.openxmlformats.org/officeDocument/2006/relationships/image" Target="../media/image118.png"/><Relationship Id="rId6" Type="http://schemas.openxmlformats.org/officeDocument/2006/relationships/image" Target="../media/image119.png"/><Relationship Id="rId7" Type="http://schemas.openxmlformats.org/officeDocument/2006/relationships/image" Target="../media/image120.png"/><Relationship Id="rId8" Type="http://schemas.openxmlformats.org/officeDocument/2006/relationships/image" Target="../media/image121.png"/><Relationship Id="rId9" Type="http://schemas.openxmlformats.org/officeDocument/2006/relationships/image" Target="../media/image122.png"/><Relationship Id="rId10" Type="http://schemas.openxmlformats.org/officeDocument/2006/relationships/image" Target="../media/image123.png"/></Relationships>
</file>

<file path=ppt/slides/_rels/slide2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2.png"/><Relationship Id="rId12" Type="http://schemas.openxmlformats.org/officeDocument/2006/relationships/image" Target="../media/image134.png"/><Relationship Id="rId13" Type="http://schemas.openxmlformats.org/officeDocument/2006/relationships/image" Target="../media/image135.png"/><Relationship Id="rId14" Type="http://schemas.openxmlformats.org/officeDocument/2006/relationships/image" Target="../media/image136.png"/><Relationship Id="rId15" Type="http://schemas.openxmlformats.org/officeDocument/2006/relationships/image" Target="../media/image137.png"/><Relationship Id="rId16" Type="http://schemas.openxmlformats.org/officeDocument/2006/relationships/image" Target="../media/image13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0.png"/><Relationship Id="rId3" Type="http://schemas.openxmlformats.org/officeDocument/2006/relationships/image" Target="../media/image128.png"/><Relationship Id="rId4" Type="http://schemas.microsoft.com/office/2007/relationships/hdphoto" Target="../media/hdphoto6.wdp"/><Relationship Id="rId5" Type="http://schemas.openxmlformats.org/officeDocument/2006/relationships/image" Target="../media/image129.png"/><Relationship Id="rId6" Type="http://schemas.openxmlformats.org/officeDocument/2006/relationships/image" Target="../media/image130.png"/><Relationship Id="rId7" Type="http://schemas.openxmlformats.org/officeDocument/2006/relationships/image" Target="../media/image131.png"/><Relationship Id="rId8" Type="http://schemas.openxmlformats.org/officeDocument/2006/relationships/image" Target="../media/image132.png"/><Relationship Id="rId9" Type="http://schemas.microsoft.com/office/2007/relationships/hdphoto" Target="../media/hdphoto7.wdp"/><Relationship Id="rId10" Type="http://schemas.openxmlformats.org/officeDocument/2006/relationships/image" Target="../media/image1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4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9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2.xml"/><Relationship Id="rId12" Type="http://schemas.openxmlformats.org/officeDocument/2006/relationships/diagramData" Target="../diagrams/data3.xml"/><Relationship Id="rId13" Type="http://schemas.openxmlformats.org/officeDocument/2006/relationships/diagramLayout" Target="../diagrams/layout3.xml"/><Relationship Id="rId14" Type="http://schemas.openxmlformats.org/officeDocument/2006/relationships/diagramQuickStyle" Target="../diagrams/quickStyle3.xml"/><Relationship Id="rId15" Type="http://schemas.openxmlformats.org/officeDocument/2006/relationships/diagramColors" Target="../diagrams/colors3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/Relationships>
</file>

<file path=ppt/slides/_rels/slide28.xml.rels><?xml version="1.0" encoding="UTF-8" standalone="yes"?>
<Relationships xmlns="http://schemas.openxmlformats.org/package/2006/relationships"><Relationship Id="rId9" Type="http://schemas.openxmlformats.org/officeDocument/2006/relationships/image" Target="../media/image53.png"/><Relationship Id="rId20" Type="http://schemas.openxmlformats.org/officeDocument/2006/relationships/image" Target="../media/image65.png"/><Relationship Id="rId10" Type="http://schemas.openxmlformats.org/officeDocument/2006/relationships/image" Target="../media/image54.png"/><Relationship Id="rId11" Type="http://schemas.openxmlformats.org/officeDocument/2006/relationships/image" Target="../media/image55.png"/><Relationship Id="rId12" Type="http://schemas.openxmlformats.org/officeDocument/2006/relationships/image" Target="../media/image56.png"/><Relationship Id="rId13" Type="http://schemas.openxmlformats.org/officeDocument/2006/relationships/image" Target="../media/image57.png"/><Relationship Id="rId14" Type="http://schemas.openxmlformats.org/officeDocument/2006/relationships/image" Target="../media/image58.png"/><Relationship Id="rId15" Type="http://schemas.openxmlformats.org/officeDocument/2006/relationships/image" Target="../media/image60.png"/><Relationship Id="rId16" Type="http://schemas.openxmlformats.org/officeDocument/2006/relationships/image" Target="../media/image61.png"/><Relationship Id="rId17" Type="http://schemas.openxmlformats.org/officeDocument/2006/relationships/image" Target="../media/image62.png"/><Relationship Id="rId18" Type="http://schemas.openxmlformats.org/officeDocument/2006/relationships/image" Target="../media/image63.png"/><Relationship Id="rId19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Relationship Id="rId3" Type="http://schemas.openxmlformats.org/officeDocument/2006/relationships/image" Target="../media/image47.png"/><Relationship Id="rId4" Type="http://schemas.openxmlformats.org/officeDocument/2006/relationships/image" Target="../media/image48.png"/><Relationship Id="rId5" Type="http://schemas.openxmlformats.org/officeDocument/2006/relationships/image" Target="../media/image49.png"/><Relationship Id="rId6" Type="http://schemas.openxmlformats.org/officeDocument/2006/relationships/image" Target="../media/image50.png"/><Relationship Id="rId7" Type="http://schemas.openxmlformats.org/officeDocument/2006/relationships/image" Target="../media/image51.png"/><Relationship Id="rId8" Type="http://schemas.openxmlformats.org/officeDocument/2006/relationships/image" Target="../media/image5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4" Type="http://schemas.openxmlformats.org/officeDocument/2006/relationships/image" Target="../media/image51.png"/><Relationship Id="rId5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image" Target="../media/image53.png"/><Relationship Id="rId8" Type="http://schemas.openxmlformats.org/officeDocument/2006/relationships/image" Target="../media/image144.png"/><Relationship Id="rId9" Type="http://schemas.openxmlformats.org/officeDocument/2006/relationships/image" Target="../media/image51.png"/><Relationship Id="rId10" Type="http://schemas.openxmlformats.org/officeDocument/2006/relationships/image" Target="../media/image55.png"/><Relationship Id="rId11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4" Type="http://schemas.openxmlformats.org/officeDocument/2006/relationships/image" Target="../media/image147.jpeg"/><Relationship Id="rId5" Type="http://schemas.microsoft.com/office/2007/relationships/hdphoto" Target="../media/hdphoto8.wdp"/><Relationship Id="rId6" Type="http://schemas.openxmlformats.org/officeDocument/2006/relationships/image" Target="../media/image148.png"/><Relationship Id="rId7" Type="http://schemas.openxmlformats.org/officeDocument/2006/relationships/image" Target="../media/image149.jpeg"/><Relationship Id="rId8" Type="http://schemas.microsoft.com/office/2007/relationships/hdphoto" Target="../media/hdphoto9.wdp"/><Relationship Id="rId9" Type="http://schemas.openxmlformats.org/officeDocument/2006/relationships/image" Target="../media/image150.png"/><Relationship Id="rId10" Type="http://schemas.openxmlformats.org/officeDocument/2006/relationships/image" Target="../media/image151.jpeg"/><Relationship Id="rId11" Type="http://schemas.microsoft.com/office/2007/relationships/hdphoto" Target="../media/hdphoto10.wdp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5.png"/></Relationships>
</file>

<file path=ppt/slides/_rels/slide3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53.png"/><Relationship Id="rId12" Type="http://schemas.openxmlformats.org/officeDocument/2006/relationships/hyperlink" Target="mailto:oscar.renalias@accenture.com" TargetMode="External"/><Relationship Id="rId13" Type="http://schemas.openxmlformats.org/officeDocument/2006/relationships/image" Target="../media/image154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52.jpeg"/><Relationship Id="rId3" Type="http://schemas.openxmlformats.org/officeDocument/2006/relationships/hyperlink" Target="mailto:matthew.d.lancaster@accenture.com" TargetMode="External"/><Relationship Id="rId4" Type="http://schemas.openxmlformats.org/officeDocument/2006/relationships/hyperlink" Target="mailto:rajeev.k.kaul@accenture.com" TargetMode="External"/><Relationship Id="rId5" Type="http://schemas.openxmlformats.org/officeDocument/2006/relationships/hyperlink" Target="https://ts.accenture.com/sites/ADI/default.aspx" TargetMode="External"/><Relationship Id="rId6" Type="http://schemas.openxmlformats.org/officeDocument/2006/relationships/hyperlink" Target="mailto:AOWP.Support@accenture.com" TargetMode="External"/><Relationship Id="rId7" Type="http://schemas.openxmlformats.org/officeDocument/2006/relationships/hyperlink" Target="http://aowp.accenture.com" TargetMode="External"/><Relationship Id="rId8" Type="http://schemas.openxmlformats.org/officeDocument/2006/relationships/hyperlink" Target="https://aowp.accenture.com/wiki/" TargetMode="External"/><Relationship Id="rId9" Type="http://schemas.openxmlformats.org/officeDocument/2006/relationships/hyperlink" Target="https://www.yammer.com/accenture.com/%23/threads/inGroup?type=in_group&amp;feedId=3617264" TargetMode="External"/><Relationship Id="rId10" Type="http://schemas.openxmlformats.org/officeDocument/2006/relationships/hyperlink" Target="https://kxsitesadmin.accenture.com/groups/aowp/training" TargetMode="Externa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55.png"/></Relationships>
</file>

<file path=ppt/slides/_rels/slide3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3.png"/><Relationship Id="rId12" Type="http://schemas.openxmlformats.org/officeDocument/2006/relationships/image" Target="../media/image160.png"/><Relationship Id="rId13" Type="http://schemas.openxmlformats.org/officeDocument/2006/relationships/image" Target="../media/image47.png"/><Relationship Id="rId14" Type="http://schemas.openxmlformats.org/officeDocument/2006/relationships/image" Target="../media/image161.png"/><Relationship Id="rId15" Type="http://schemas.openxmlformats.org/officeDocument/2006/relationships/image" Target="../media/image162.png"/><Relationship Id="rId16" Type="http://schemas.openxmlformats.org/officeDocument/2006/relationships/image" Target="../media/image163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56.jpeg"/><Relationship Id="rId4" Type="http://schemas.openxmlformats.org/officeDocument/2006/relationships/image" Target="../media/image46.png"/><Relationship Id="rId5" Type="http://schemas.openxmlformats.org/officeDocument/2006/relationships/image" Target="../media/image51.png"/><Relationship Id="rId6" Type="http://schemas.openxmlformats.org/officeDocument/2006/relationships/image" Target="../media/image55.png"/><Relationship Id="rId7" Type="http://schemas.openxmlformats.org/officeDocument/2006/relationships/image" Target="../media/image56.png"/><Relationship Id="rId8" Type="http://schemas.openxmlformats.org/officeDocument/2006/relationships/image" Target="../media/image157.png"/><Relationship Id="rId9" Type="http://schemas.openxmlformats.org/officeDocument/2006/relationships/image" Target="../media/image158.png"/><Relationship Id="rId10" Type="http://schemas.openxmlformats.org/officeDocument/2006/relationships/image" Target="../media/image159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64.jpeg"/></Relationships>
</file>

<file path=ppt/slides/_rels/slide3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71.png"/><Relationship Id="rId20" Type="http://schemas.openxmlformats.org/officeDocument/2006/relationships/image" Target="../media/image182.png"/><Relationship Id="rId21" Type="http://schemas.openxmlformats.org/officeDocument/2006/relationships/image" Target="../media/image183.png"/><Relationship Id="rId10" Type="http://schemas.openxmlformats.org/officeDocument/2006/relationships/image" Target="../media/image172.png"/><Relationship Id="rId11" Type="http://schemas.openxmlformats.org/officeDocument/2006/relationships/image" Target="../media/image173.png"/><Relationship Id="rId12" Type="http://schemas.openxmlformats.org/officeDocument/2006/relationships/image" Target="../media/image174.png"/><Relationship Id="rId13" Type="http://schemas.openxmlformats.org/officeDocument/2006/relationships/image" Target="../media/image175.png"/><Relationship Id="rId14" Type="http://schemas.openxmlformats.org/officeDocument/2006/relationships/image" Target="../media/image176.png"/><Relationship Id="rId15" Type="http://schemas.openxmlformats.org/officeDocument/2006/relationships/image" Target="../media/image177.png"/><Relationship Id="rId16" Type="http://schemas.openxmlformats.org/officeDocument/2006/relationships/image" Target="../media/image178.jpeg"/><Relationship Id="rId17" Type="http://schemas.openxmlformats.org/officeDocument/2006/relationships/image" Target="../media/image179.png"/><Relationship Id="rId18" Type="http://schemas.openxmlformats.org/officeDocument/2006/relationships/image" Target="../media/image180.png"/><Relationship Id="rId19" Type="http://schemas.openxmlformats.org/officeDocument/2006/relationships/image" Target="../media/image18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65.png"/><Relationship Id="rId4" Type="http://schemas.openxmlformats.org/officeDocument/2006/relationships/image" Target="../media/image166.png"/><Relationship Id="rId5" Type="http://schemas.openxmlformats.org/officeDocument/2006/relationships/image" Target="../media/image167.png"/><Relationship Id="rId6" Type="http://schemas.openxmlformats.org/officeDocument/2006/relationships/image" Target="../media/image168.png"/><Relationship Id="rId7" Type="http://schemas.openxmlformats.org/officeDocument/2006/relationships/image" Target="../media/image169.png"/><Relationship Id="rId8" Type="http://schemas.openxmlformats.org/officeDocument/2006/relationships/image" Target="../media/image17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4" Type="http://schemas.openxmlformats.org/officeDocument/2006/relationships/image" Target="../media/image186.png"/><Relationship Id="rId5" Type="http://schemas.openxmlformats.org/officeDocument/2006/relationships/image" Target="../media/image187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8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png"/><Relationship Id="rId8" Type="http://schemas.openxmlformats.org/officeDocument/2006/relationships/image" Target="../media/image15.png"/><Relationship Id="rId9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57.png"/><Relationship Id="rId12" Type="http://schemas.openxmlformats.org/officeDocument/2006/relationships/image" Target="../media/image158.png"/><Relationship Id="rId13" Type="http://schemas.openxmlformats.org/officeDocument/2006/relationships/image" Target="../media/image159.png"/><Relationship Id="rId14" Type="http://schemas.openxmlformats.org/officeDocument/2006/relationships/image" Target="../media/image63.png"/><Relationship Id="rId15" Type="http://schemas.openxmlformats.org/officeDocument/2006/relationships/image" Target="../media/image191.png"/><Relationship Id="rId16" Type="http://schemas.openxmlformats.org/officeDocument/2006/relationships/image" Target="../media/image160.png"/><Relationship Id="rId17" Type="http://schemas.openxmlformats.org/officeDocument/2006/relationships/image" Target="../media/image47.png"/><Relationship Id="rId18" Type="http://schemas.openxmlformats.org/officeDocument/2006/relationships/image" Target="../media/image192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56.jpeg"/><Relationship Id="rId4" Type="http://schemas.openxmlformats.org/officeDocument/2006/relationships/image" Target="../media/image188.png"/><Relationship Id="rId5" Type="http://schemas.openxmlformats.org/officeDocument/2006/relationships/image" Target="../media/image189.png"/><Relationship Id="rId6" Type="http://schemas.openxmlformats.org/officeDocument/2006/relationships/image" Target="../media/image190.png"/><Relationship Id="rId7" Type="http://schemas.openxmlformats.org/officeDocument/2006/relationships/image" Target="../media/image46.png"/><Relationship Id="rId8" Type="http://schemas.openxmlformats.org/officeDocument/2006/relationships/image" Target="../media/image51.png"/><Relationship Id="rId9" Type="http://schemas.openxmlformats.org/officeDocument/2006/relationships/image" Target="../media/image55.png"/><Relationship Id="rId10" Type="http://schemas.openxmlformats.org/officeDocument/2006/relationships/image" Target="../media/image56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93.png"/></Relationships>
</file>

<file path=ppt/slides/_rels/slide4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7.png"/><Relationship Id="rId12" Type="http://schemas.openxmlformats.org/officeDocument/2006/relationships/image" Target="../media/image162.png"/><Relationship Id="rId13" Type="http://schemas.openxmlformats.org/officeDocument/2006/relationships/image" Target="../media/image194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56.jpeg"/><Relationship Id="rId4" Type="http://schemas.openxmlformats.org/officeDocument/2006/relationships/image" Target="../media/image46.png"/><Relationship Id="rId5" Type="http://schemas.openxmlformats.org/officeDocument/2006/relationships/image" Target="../media/image51.png"/><Relationship Id="rId6" Type="http://schemas.openxmlformats.org/officeDocument/2006/relationships/image" Target="../media/image157.png"/><Relationship Id="rId7" Type="http://schemas.openxmlformats.org/officeDocument/2006/relationships/image" Target="../media/image158.png"/><Relationship Id="rId8" Type="http://schemas.openxmlformats.org/officeDocument/2006/relationships/image" Target="../media/image159.png"/><Relationship Id="rId9" Type="http://schemas.openxmlformats.org/officeDocument/2006/relationships/image" Target="../media/image63.png"/><Relationship Id="rId10" Type="http://schemas.openxmlformats.org/officeDocument/2006/relationships/image" Target="../media/image160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9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9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4" Type="http://schemas.openxmlformats.org/officeDocument/2006/relationships/image" Target="../media/image156.jpeg"/><Relationship Id="rId5" Type="http://schemas.openxmlformats.org/officeDocument/2006/relationships/image" Target="../media/image198.png"/><Relationship Id="rId6" Type="http://schemas.openxmlformats.org/officeDocument/2006/relationships/image" Target="../media/image199.png"/><Relationship Id="rId7" Type="http://schemas.openxmlformats.org/officeDocument/2006/relationships/image" Target="../media/image188.png"/><Relationship Id="rId8" Type="http://schemas.openxmlformats.org/officeDocument/2006/relationships/image" Target="../media/image192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5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jpeg"/><Relationship Id="rId6" Type="http://schemas.openxmlformats.org/officeDocument/2006/relationships/image" Target="../media/image21.jpe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0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4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9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9.png"/><Relationship Id="rId12" Type="http://schemas.openxmlformats.org/officeDocument/2006/relationships/image" Target="../media/image40.png"/><Relationship Id="rId13" Type="http://schemas.openxmlformats.org/officeDocument/2006/relationships/image" Target="../media/image41.png"/><Relationship Id="rId14" Type="http://schemas.openxmlformats.org/officeDocument/2006/relationships/image" Target="../media/image42.png"/><Relationship Id="rId15" Type="http://schemas.openxmlformats.org/officeDocument/2006/relationships/image" Target="../media/image43.png"/><Relationship Id="rId16" Type="http://schemas.openxmlformats.org/officeDocument/2006/relationships/image" Target="../media/image25.png"/><Relationship Id="rId17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png"/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5" Type="http://schemas.openxmlformats.org/officeDocument/2006/relationships/image" Target="../media/image33.png"/><Relationship Id="rId6" Type="http://schemas.openxmlformats.org/officeDocument/2006/relationships/image" Target="../media/image34.png"/><Relationship Id="rId7" Type="http://schemas.openxmlformats.org/officeDocument/2006/relationships/image" Target="../media/image35.png"/><Relationship Id="rId8" Type="http://schemas.openxmlformats.org/officeDocument/2006/relationships/image" Target="../media/image36.png"/><Relationship Id="rId9" Type="http://schemas.openxmlformats.org/officeDocument/2006/relationships/image" Target="../media/image37.png"/><Relationship Id="rId10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0669" y="3074438"/>
            <a:ext cx="5003737" cy="707259"/>
          </a:xfrm>
        </p:spPr>
        <p:txBody>
          <a:bodyPr/>
          <a:lstStyle/>
          <a:p>
            <a:r>
              <a:rPr lang="en-US" sz="2400" dirty="0" smtClean="0"/>
              <a:t>Executive Overview</a:t>
            </a:r>
            <a:endParaRPr lang="en-US" sz="24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3848" y="3726198"/>
            <a:ext cx="5000558" cy="461665"/>
          </a:xfrm>
        </p:spPr>
        <p:txBody>
          <a:bodyPr/>
          <a:lstStyle/>
          <a:p>
            <a:r>
              <a:rPr lang="en-US" dirty="0" smtClean="0"/>
              <a:t>January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97211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ed Rectangle 78"/>
          <p:cNvSpPr/>
          <p:nvPr/>
        </p:nvSpPr>
        <p:spPr>
          <a:xfrm>
            <a:off x="3831894" y="1224310"/>
            <a:ext cx="2659282" cy="3380658"/>
          </a:xfrm>
          <a:custGeom>
            <a:avLst/>
            <a:gdLst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044321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420747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420747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577282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3999149"/>
              <a:gd name="connsiteY0" fmla="*/ 503055 h 3653200"/>
              <a:gd name="connsiteX1" fmla="*/ 444255 w 3999149"/>
              <a:gd name="connsiteY1" fmla="*/ 0 h 3653200"/>
              <a:gd name="connsiteX2" fmla="*/ 3577282 w 3999149"/>
              <a:gd name="connsiteY2" fmla="*/ 0 h 3653200"/>
              <a:gd name="connsiteX3" fmla="*/ 3998018 w 3999149"/>
              <a:gd name="connsiteY3" fmla="*/ 538330 h 3653200"/>
              <a:gd name="connsiteX4" fmla="*/ 3998018 w 3999149"/>
              <a:gd name="connsiteY4" fmla="*/ 3138387 h 3653200"/>
              <a:gd name="connsiteX5" fmla="*/ 3647835 w 3999149"/>
              <a:gd name="connsiteY5" fmla="*/ 3653200 h 3653200"/>
              <a:gd name="connsiteX6" fmla="*/ 479531 w 3999149"/>
              <a:gd name="connsiteY6" fmla="*/ 3653200 h 3653200"/>
              <a:gd name="connsiteX7" fmla="*/ 0 w 3999149"/>
              <a:gd name="connsiteY7" fmla="*/ 3220695 h 3653200"/>
              <a:gd name="connsiteX8" fmla="*/ 0 w 3999149"/>
              <a:gd name="connsiteY8" fmla="*/ 503055 h 365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9149" h="3653200">
                <a:moveTo>
                  <a:pt x="0" y="503055"/>
                </a:moveTo>
                <a:cubicBezTo>
                  <a:pt x="0" y="166780"/>
                  <a:pt x="107980" y="0"/>
                  <a:pt x="444255" y="0"/>
                </a:cubicBezTo>
                <a:lnTo>
                  <a:pt x="3577282" y="0"/>
                </a:lnTo>
                <a:cubicBezTo>
                  <a:pt x="3913557" y="0"/>
                  <a:pt x="3998018" y="202055"/>
                  <a:pt x="3998018" y="538330"/>
                </a:cubicBezTo>
                <a:cubicBezTo>
                  <a:pt x="3994098" y="1381499"/>
                  <a:pt x="4001938" y="2295218"/>
                  <a:pt x="3998018" y="3138387"/>
                </a:cubicBezTo>
                <a:cubicBezTo>
                  <a:pt x="3998018" y="3474662"/>
                  <a:pt x="3984110" y="3653200"/>
                  <a:pt x="3647835" y="3653200"/>
                </a:cubicBezTo>
                <a:lnTo>
                  <a:pt x="479531" y="3653200"/>
                </a:lnTo>
                <a:cubicBezTo>
                  <a:pt x="143256" y="3653200"/>
                  <a:pt x="0" y="3556970"/>
                  <a:pt x="0" y="3220695"/>
                </a:cubicBezTo>
                <a:lnTo>
                  <a:pt x="0" y="503055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  <a:gs pos="21000">
                <a:schemeClr val="bg1">
                  <a:lumMod val="85000"/>
                </a:schemeClr>
              </a:gs>
            </a:gsLst>
            <a:lin ang="16200000" scaled="0"/>
          </a:gra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Avenir Black"/>
                <a:cs typeface="Avenir Black"/>
              </a:rPr>
              <a:t>   Web Platform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3939225" y="1660606"/>
            <a:ext cx="2389831" cy="1913608"/>
          </a:xfrm>
          <a:prstGeom prst="roundRect">
            <a:avLst/>
          </a:prstGeom>
          <a:solidFill>
            <a:srgbClr val="CC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Core UI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E46C09"/>
                </a:solidFill>
              </a:rPr>
              <a:t>Client/API Architecture – Isomorphic JavaScript</a:t>
            </a:r>
            <a:endParaRPr lang="en-US" dirty="0">
              <a:solidFill>
                <a:srgbClr val="E46C0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10</a:t>
            </a:fld>
            <a:endParaRPr lang="en-US"/>
          </a:p>
        </p:txBody>
      </p:sp>
      <p:sp>
        <p:nvSpPr>
          <p:cNvPr id="6" name="Rounded Rectangle 78"/>
          <p:cNvSpPr/>
          <p:nvPr/>
        </p:nvSpPr>
        <p:spPr>
          <a:xfrm>
            <a:off x="86490" y="1224310"/>
            <a:ext cx="2659282" cy="2496092"/>
          </a:xfrm>
          <a:custGeom>
            <a:avLst/>
            <a:gdLst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044321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420747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420747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577282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3999149"/>
              <a:gd name="connsiteY0" fmla="*/ 503055 h 3653200"/>
              <a:gd name="connsiteX1" fmla="*/ 444255 w 3999149"/>
              <a:gd name="connsiteY1" fmla="*/ 0 h 3653200"/>
              <a:gd name="connsiteX2" fmla="*/ 3577282 w 3999149"/>
              <a:gd name="connsiteY2" fmla="*/ 0 h 3653200"/>
              <a:gd name="connsiteX3" fmla="*/ 3998018 w 3999149"/>
              <a:gd name="connsiteY3" fmla="*/ 538330 h 3653200"/>
              <a:gd name="connsiteX4" fmla="*/ 3998018 w 3999149"/>
              <a:gd name="connsiteY4" fmla="*/ 3138387 h 3653200"/>
              <a:gd name="connsiteX5" fmla="*/ 3647835 w 3999149"/>
              <a:gd name="connsiteY5" fmla="*/ 3653200 h 3653200"/>
              <a:gd name="connsiteX6" fmla="*/ 479531 w 3999149"/>
              <a:gd name="connsiteY6" fmla="*/ 3653200 h 3653200"/>
              <a:gd name="connsiteX7" fmla="*/ 0 w 3999149"/>
              <a:gd name="connsiteY7" fmla="*/ 3220695 h 3653200"/>
              <a:gd name="connsiteX8" fmla="*/ 0 w 3999149"/>
              <a:gd name="connsiteY8" fmla="*/ 503055 h 365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9149" h="3653200">
                <a:moveTo>
                  <a:pt x="0" y="503055"/>
                </a:moveTo>
                <a:cubicBezTo>
                  <a:pt x="0" y="166780"/>
                  <a:pt x="107980" y="0"/>
                  <a:pt x="444255" y="0"/>
                </a:cubicBezTo>
                <a:lnTo>
                  <a:pt x="3577282" y="0"/>
                </a:lnTo>
                <a:cubicBezTo>
                  <a:pt x="3913557" y="0"/>
                  <a:pt x="3998018" y="202055"/>
                  <a:pt x="3998018" y="538330"/>
                </a:cubicBezTo>
                <a:cubicBezTo>
                  <a:pt x="3994098" y="1381499"/>
                  <a:pt x="4001938" y="2295218"/>
                  <a:pt x="3998018" y="3138387"/>
                </a:cubicBezTo>
                <a:cubicBezTo>
                  <a:pt x="3998018" y="3474662"/>
                  <a:pt x="3984110" y="3653200"/>
                  <a:pt x="3647835" y="3653200"/>
                </a:cubicBezTo>
                <a:lnTo>
                  <a:pt x="479531" y="3653200"/>
                </a:lnTo>
                <a:cubicBezTo>
                  <a:pt x="143256" y="3653200"/>
                  <a:pt x="0" y="3556970"/>
                  <a:pt x="0" y="3220695"/>
                </a:cubicBezTo>
                <a:lnTo>
                  <a:pt x="0" y="503055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  <a:gs pos="21000">
                <a:schemeClr val="bg1">
                  <a:lumMod val="85000"/>
                </a:schemeClr>
              </a:gs>
            </a:gsLst>
            <a:lin ang="16200000" scaled="0"/>
          </a:gra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Avenir Black"/>
                <a:cs typeface="Avenir Black"/>
              </a:rPr>
              <a:t>   Web Platform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168118" y="1619712"/>
            <a:ext cx="2389831" cy="1913608"/>
          </a:xfrm>
          <a:prstGeom prst="roundRect">
            <a:avLst/>
          </a:prstGeom>
          <a:solidFill>
            <a:srgbClr val="CC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Browser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2849066" y="1254999"/>
            <a:ext cx="0" cy="3385569"/>
          </a:xfrm>
          <a:prstGeom prst="line">
            <a:avLst/>
          </a:prstGeom>
          <a:noFill/>
          <a:ln w="25400" cap="flat" cmpd="sng" algn="ctr">
            <a:solidFill>
              <a:srgbClr val="CC0000"/>
            </a:solidFill>
            <a:prstDash val="dash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9" name="Rounded Rectangle 18"/>
          <p:cNvSpPr/>
          <p:nvPr/>
        </p:nvSpPr>
        <p:spPr bwMode="auto">
          <a:xfrm>
            <a:off x="6256359" y="3517542"/>
            <a:ext cx="818251" cy="156001"/>
          </a:xfrm>
          <a:prstGeom prst="round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black"/>
                </a:solidFill>
                <a:latin typeface="Avenir Black"/>
                <a:cs typeface="Avenir Black"/>
              </a:rPr>
              <a:t>REST</a:t>
            </a:r>
            <a:endParaRPr lang="en-US" sz="1050" b="1" kern="0" dirty="0">
              <a:solidFill>
                <a:prstClr val="black"/>
              </a:solidFill>
              <a:latin typeface="Avenir Black"/>
              <a:cs typeface="Avenir Black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412976" y="2115733"/>
            <a:ext cx="1930224" cy="616678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MV*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1441424" y="2805820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Helpers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412975" y="2805820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UI Libraries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412975" y="3126982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Templates</a:t>
            </a:r>
          </a:p>
        </p:txBody>
      </p:sp>
      <p:sp>
        <p:nvSpPr>
          <p:cNvPr id="24" name="Rounded Rectangle 23"/>
          <p:cNvSpPr/>
          <p:nvPr/>
        </p:nvSpPr>
        <p:spPr bwMode="auto">
          <a:xfrm>
            <a:off x="1441425" y="3126982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Routing</a:t>
            </a:r>
          </a:p>
        </p:txBody>
      </p:sp>
      <p:sp>
        <p:nvSpPr>
          <p:cNvPr id="25" name="Rounded Rectangle 24"/>
          <p:cNvSpPr/>
          <p:nvPr/>
        </p:nvSpPr>
        <p:spPr bwMode="auto">
          <a:xfrm rot="5400000">
            <a:off x="7588918" y="1467522"/>
            <a:ext cx="965588" cy="416991"/>
          </a:xfrm>
          <a:prstGeom prst="roundRect">
            <a:avLst/>
          </a:prstGeom>
          <a:solidFill>
            <a:srgbClr val="CC33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1100" b="1" kern="0" dirty="0">
                <a:solidFill>
                  <a:srgbClr val="FFFFFF"/>
                </a:solidFill>
                <a:latin typeface="Avenir Black"/>
                <a:cs typeface="Avenir Black"/>
              </a:rPr>
              <a:t>CMS</a:t>
            </a:r>
          </a:p>
        </p:txBody>
      </p:sp>
      <p:sp>
        <p:nvSpPr>
          <p:cNvPr id="26" name="Rounded Rectangle 25"/>
          <p:cNvSpPr/>
          <p:nvPr/>
        </p:nvSpPr>
        <p:spPr bwMode="auto">
          <a:xfrm rot="5400000">
            <a:off x="5392861" y="2690600"/>
            <a:ext cx="3411746" cy="41699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API Layer</a:t>
            </a:r>
          </a:p>
        </p:txBody>
      </p:sp>
      <p:sp>
        <p:nvSpPr>
          <p:cNvPr id="27" name="Rounded Rectangle 26"/>
          <p:cNvSpPr/>
          <p:nvPr/>
        </p:nvSpPr>
        <p:spPr bwMode="auto">
          <a:xfrm rot="5400000">
            <a:off x="6880820" y="3205580"/>
            <a:ext cx="2381785" cy="416991"/>
          </a:xfrm>
          <a:prstGeom prst="roundRect">
            <a:avLst/>
          </a:prstGeom>
          <a:solidFill>
            <a:srgbClr val="CC33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lang="en-US" sz="1100" b="1" kern="0" dirty="0" smtClean="0">
                <a:solidFill>
                  <a:srgbClr val="FFFFFF"/>
                </a:solidFill>
                <a:latin typeface="Avenir Black"/>
                <a:cs typeface="Avenir Black"/>
              </a:rPr>
              <a:t>Enterprise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 Services</a:t>
            </a:r>
          </a:p>
        </p:txBody>
      </p:sp>
      <p:sp>
        <p:nvSpPr>
          <p:cNvPr id="28" name="Rounded Rectangle 27"/>
          <p:cNvSpPr/>
          <p:nvPr/>
        </p:nvSpPr>
        <p:spPr bwMode="auto">
          <a:xfrm rot="5400000">
            <a:off x="7018159" y="2551603"/>
            <a:ext cx="3411746" cy="694985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Black"/>
                <a:cs typeface="Avenir Black"/>
              </a:rPr>
              <a:t>Back End Systems of Record</a:t>
            </a:r>
          </a:p>
        </p:txBody>
      </p:sp>
      <p:sp>
        <p:nvSpPr>
          <p:cNvPr id="29" name="Rounded Rectangle 28"/>
          <p:cNvSpPr/>
          <p:nvPr/>
        </p:nvSpPr>
        <p:spPr bwMode="auto">
          <a:xfrm rot="5400000">
            <a:off x="5879351" y="2690600"/>
            <a:ext cx="3411746" cy="416991"/>
          </a:xfrm>
          <a:prstGeom prst="roundRect">
            <a:avLst/>
          </a:prstGeom>
          <a:solidFill>
            <a:srgbClr val="9A0E2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Security Authorization, Validation, and Enforcement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606176"/>
            <a:ext cx="91580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i="1">
                <a:solidFill>
                  <a:srgbClr val="CC0000"/>
                </a:solidFill>
                <a:latin typeface="Avenir Black"/>
                <a:cs typeface="Avenir Black"/>
              </a:defRPr>
            </a:lvl1pPr>
          </a:lstStyle>
          <a:p>
            <a:r>
              <a:rPr lang="en-US" sz="1200" dirty="0" smtClean="0">
                <a:solidFill>
                  <a:srgbClr val="E46C09"/>
                </a:solidFill>
                <a:latin typeface="Arial"/>
                <a:cs typeface="Arial"/>
              </a:rPr>
              <a:t>JavaScript-based application architecture in which the application runs </a:t>
            </a:r>
            <a:r>
              <a:rPr lang="en-US" sz="1200" dirty="0">
                <a:solidFill>
                  <a:srgbClr val="E46C09"/>
                </a:solidFill>
                <a:latin typeface="Arial"/>
                <a:cs typeface="Arial"/>
              </a:rPr>
              <a:t>both on the client and on the server, powered by real-time and reactive </a:t>
            </a:r>
            <a:r>
              <a:rPr lang="en-US" sz="1200" dirty="0" smtClean="0">
                <a:solidFill>
                  <a:srgbClr val="E46C09"/>
                </a:solidFill>
                <a:latin typeface="Arial"/>
                <a:cs typeface="Arial"/>
              </a:rPr>
              <a:t>APIs</a:t>
            </a:r>
            <a:endParaRPr lang="en-US" sz="1200" dirty="0">
              <a:solidFill>
                <a:srgbClr val="E46C09"/>
              </a:solidFill>
              <a:latin typeface="Arial"/>
              <a:cs typeface="Arial"/>
            </a:endParaRPr>
          </a:p>
        </p:txBody>
      </p:sp>
      <p:sp>
        <p:nvSpPr>
          <p:cNvPr id="39" name="Rounded Rectangle 38"/>
          <p:cNvSpPr/>
          <p:nvPr/>
        </p:nvSpPr>
        <p:spPr bwMode="auto">
          <a:xfrm>
            <a:off x="4232367" y="2115733"/>
            <a:ext cx="1930224" cy="616678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MV*</a:t>
            </a:r>
          </a:p>
        </p:txBody>
      </p:sp>
      <p:sp>
        <p:nvSpPr>
          <p:cNvPr id="40" name="Rounded Rectangle 39"/>
          <p:cNvSpPr/>
          <p:nvPr/>
        </p:nvSpPr>
        <p:spPr bwMode="auto">
          <a:xfrm>
            <a:off x="5260815" y="2805820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Helpers</a:t>
            </a:r>
          </a:p>
        </p:txBody>
      </p:sp>
      <p:sp>
        <p:nvSpPr>
          <p:cNvPr id="41" name="Rounded Rectangle 40"/>
          <p:cNvSpPr/>
          <p:nvPr/>
        </p:nvSpPr>
        <p:spPr bwMode="auto">
          <a:xfrm>
            <a:off x="4232366" y="2805820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UI Libraries</a:t>
            </a:r>
          </a:p>
        </p:txBody>
      </p:sp>
      <p:sp>
        <p:nvSpPr>
          <p:cNvPr id="42" name="Rounded Rectangle 41"/>
          <p:cNvSpPr/>
          <p:nvPr/>
        </p:nvSpPr>
        <p:spPr bwMode="auto">
          <a:xfrm>
            <a:off x="4232366" y="3126982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Templates</a:t>
            </a:r>
          </a:p>
        </p:txBody>
      </p:sp>
      <p:sp>
        <p:nvSpPr>
          <p:cNvPr id="43" name="Rounded Rectangle 42"/>
          <p:cNvSpPr/>
          <p:nvPr/>
        </p:nvSpPr>
        <p:spPr bwMode="auto">
          <a:xfrm>
            <a:off x="5260816" y="3126982"/>
            <a:ext cx="901775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Routing</a:t>
            </a:r>
          </a:p>
        </p:txBody>
      </p:sp>
      <p:sp>
        <p:nvSpPr>
          <p:cNvPr id="46" name="Can 45"/>
          <p:cNvSpPr/>
          <p:nvPr/>
        </p:nvSpPr>
        <p:spPr>
          <a:xfrm>
            <a:off x="5223250" y="4165422"/>
            <a:ext cx="1150526" cy="372699"/>
          </a:xfrm>
          <a:prstGeom prst="can">
            <a:avLst/>
          </a:prstGeom>
          <a:solidFill>
            <a:srgbClr val="C91C1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Avenir Black"/>
                <a:cs typeface="Avenir Black"/>
              </a:rPr>
              <a:t>Storage</a:t>
            </a:r>
            <a:endParaRPr lang="en-US" sz="1000" dirty="0">
              <a:latin typeface="Avenir Black"/>
              <a:cs typeface="Avenir Black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3974671" y="3656541"/>
            <a:ext cx="1159470" cy="400979"/>
          </a:xfrm>
          <a:prstGeom prst="roundRect">
            <a:avLst/>
          </a:prstGeom>
          <a:solidFill>
            <a:srgbClr val="CC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vert="horz" wrap="squar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Reactive APIs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3974671" y="4114488"/>
            <a:ext cx="1159470" cy="400979"/>
          </a:xfrm>
          <a:prstGeom prst="roundRect">
            <a:avLst/>
          </a:prstGeom>
          <a:solidFill>
            <a:srgbClr val="CC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vert="horz" wrap="squar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WebSockets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223250" y="3656541"/>
            <a:ext cx="1159470" cy="400979"/>
          </a:xfrm>
          <a:prstGeom prst="roundRect">
            <a:avLst/>
          </a:prstGeom>
          <a:solidFill>
            <a:srgbClr val="CC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vert="horz" wrap="squar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API Facade</a:t>
            </a:r>
          </a:p>
        </p:txBody>
      </p:sp>
      <p:grpSp>
        <p:nvGrpSpPr>
          <p:cNvPr id="16" name="Group 15"/>
          <p:cNvGrpSpPr/>
          <p:nvPr/>
        </p:nvGrpSpPr>
        <p:grpSpPr>
          <a:xfrm rot="5400000">
            <a:off x="6473402" y="3636524"/>
            <a:ext cx="397705" cy="507516"/>
            <a:chOff x="1871681" y="3726059"/>
            <a:chExt cx="518995" cy="1750981"/>
          </a:xfrm>
        </p:grpSpPr>
        <p:sp>
          <p:nvSpPr>
            <p:cNvPr id="17" name="Down Arrow 16"/>
            <p:cNvSpPr/>
            <p:nvPr/>
          </p:nvSpPr>
          <p:spPr bwMode="auto">
            <a:xfrm flipV="1">
              <a:off x="2146599" y="3726059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  <p:sp>
          <p:nvSpPr>
            <p:cNvPr id="18" name="Down Arrow 17"/>
            <p:cNvSpPr/>
            <p:nvPr/>
          </p:nvSpPr>
          <p:spPr bwMode="auto">
            <a:xfrm>
              <a:off x="1871681" y="3779028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 rot="5400000">
            <a:off x="3101629" y="1995264"/>
            <a:ext cx="397705" cy="1062824"/>
            <a:chOff x="1871681" y="3726059"/>
            <a:chExt cx="518995" cy="1750981"/>
          </a:xfrm>
        </p:grpSpPr>
        <p:sp>
          <p:nvSpPr>
            <p:cNvPr id="52" name="Down Arrow 51"/>
            <p:cNvSpPr/>
            <p:nvPr/>
          </p:nvSpPr>
          <p:spPr bwMode="auto">
            <a:xfrm flipV="1">
              <a:off x="2146599" y="3726059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  <p:sp>
          <p:nvSpPr>
            <p:cNvPr id="53" name="Down Arrow 52"/>
            <p:cNvSpPr/>
            <p:nvPr/>
          </p:nvSpPr>
          <p:spPr bwMode="auto">
            <a:xfrm>
              <a:off x="1871681" y="3779028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 rot="7298091">
            <a:off x="3090908" y="3054492"/>
            <a:ext cx="397705" cy="1295724"/>
            <a:chOff x="1871681" y="3726059"/>
            <a:chExt cx="518995" cy="1750981"/>
          </a:xfrm>
        </p:grpSpPr>
        <p:sp>
          <p:nvSpPr>
            <p:cNvPr id="55" name="Down Arrow 54"/>
            <p:cNvSpPr/>
            <p:nvPr/>
          </p:nvSpPr>
          <p:spPr bwMode="auto">
            <a:xfrm flipV="1">
              <a:off x="2146599" y="3726059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  <p:sp>
          <p:nvSpPr>
            <p:cNvPr id="56" name="Down Arrow 55"/>
            <p:cNvSpPr/>
            <p:nvPr/>
          </p:nvSpPr>
          <p:spPr bwMode="auto">
            <a:xfrm>
              <a:off x="1871681" y="3779028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</p:grpSp>
      <p:sp>
        <p:nvSpPr>
          <p:cNvPr id="57" name="Rounded Rectangle 56"/>
          <p:cNvSpPr/>
          <p:nvPr/>
        </p:nvSpPr>
        <p:spPr bwMode="auto">
          <a:xfrm rot="1933999">
            <a:off x="2782387" y="3293501"/>
            <a:ext cx="1358077" cy="254718"/>
          </a:xfrm>
          <a:prstGeom prst="round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black"/>
                </a:solidFill>
                <a:latin typeface="Avenir Black"/>
                <a:cs typeface="Avenir Black"/>
              </a:rPr>
              <a:t>Real time Communication</a:t>
            </a:r>
            <a:endParaRPr lang="en-US" sz="1050" b="1" kern="0" dirty="0">
              <a:solidFill>
                <a:prstClr val="black"/>
              </a:solidFill>
              <a:latin typeface="Avenir Black"/>
              <a:cs typeface="Avenir Black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>
            <a:off x="2667240" y="1824428"/>
            <a:ext cx="1245044" cy="503395"/>
          </a:xfrm>
          <a:prstGeom prst="round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black"/>
                </a:solidFill>
                <a:latin typeface="Avenir Black"/>
                <a:cs typeface="Avenir Black"/>
              </a:rPr>
              <a:t>Intelligent UI Rendering</a:t>
            </a:r>
            <a:endParaRPr lang="en-US" sz="1050" b="1" kern="0" dirty="0">
              <a:solidFill>
                <a:prstClr val="black"/>
              </a:solidFill>
              <a:latin typeface="Avenir Black"/>
              <a:cs typeface="Avenir Black"/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8263610" y="136582"/>
            <a:ext cx="482832" cy="482832"/>
            <a:chOff x="5177116" y="3793065"/>
            <a:chExt cx="321235" cy="321235"/>
          </a:xfrm>
        </p:grpSpPr>
        <p:sp>
          <p:nvSpPr>
            <p:cNvPr id="47" name="Oval 46"/>
            <p:cNvSpPr/>
            <p:nvPr/>
          </p:nvSpPr>
          <p:spPr>
            <a:xfrm>
              <a:off x="5177116" y="3793065"/>
              <a:ext cx="321235" cy="321235"/>
            </a:xfrm>
            <a:prstGeom prst="ellipse">
              <a:avLst/>
            </a:prstGeom>
            <a:solidFill>
              <a:srgbClr val="E46C0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2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44355" y="3882718"/>
              <a:ext cx="200297" cy="1514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23636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C91C15"/>
                </a:solidFill>
              </a:rPr>
              <a:t>Client/API Architecture - DevOps</a:t>
            </a:r>
            <a:endParaRPr lang="en-US" dirty="0">
              <a:solidFill>
                <a:srgbClr val="C91C1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dirty="0" smtClean="0">
                <a:latin typeface="Avenir Next Regular"/>
                <a:cs typeface="Avenir Next Regular"/>
              </a:rPr>
              <a:t>Confidential</a:t>
            </a:r>
            <a:endParaRPr lang="en-US" dirty="0">
              <a:latin typeface="Avenir Next Regular"/>
              <a:cs typeface="Avenir Next Regular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venir Next Regular"/>
                <a:cs typeface="Avenir Next Regular"/>
              </a:rPr>
              <a:pPr defTabSz="914400"/>
              <a:t>11</a:t>
            </a:fld>
            <a:endParaRPr lang="en-US">
              <a:latin typeface="Avenir Next Regular"/>
              <a:cs typeface="Avenir Next Regular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662443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smtClean="0">
                <a:solidFill>
                  <a:srgbClr val="CC0000"/>
                </a:solidFill>
                <a:latin typeface="Avenir Next Regular"/>
                <a:cs typeface="Avenir Next Regular"/>
              </a:rPr>
              <a:t>Modern Web Architecture requires a journey toward the next generation of agile development methods, DevOps capabilities, and quality-first engineering principles</a:t>
            </a:r>
            <a:endParaRPr lang="en-US" sz="1400" i="1" dirty="0">
              <a:solidFill>
                <a:srgbClr val="CC0000"/>
              </a:solidFill>
              <a:latin typeface="Avenir Next Regular"/>
              <a:cs typeface="Avenir Next Regular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8537" y="1403656"/>
            <a:ext cx="551107" cy="458131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5096" y="1494525"/>
            <a:ext cx="464414" cy="360301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269240" y="2145086"/>
            <a:ext cx="1383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Developer cuts feature branch, writes tests, writes code, and submits for review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812933" y="1348327"/>
            <a:ext cx="4045231" cy="10912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40" name="Down Arrow 39"/>
          <p:cNvSpPr/>
          <p:nvPr/>
        </p:nvSpPr>
        <p:spPr bwMode="auto">
          <a:xfrm rot="5400000" flipV="1">
            <a:off x="1602894" y="1548370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814773" y="1854826"/>
            <a:ext cx="1632777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Grunt runs automated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mocha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behavior with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chai</a:t>
            </a:r>
            <a:r>
              <a:rPr lang="en-US" sz="8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assertions and unit tests via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phantomjs</a:t>
            </a:r>
            <a:r>
              <a:rPr lang="en-US" sz="8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&amp;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casperjs</a:t>
            </a:r>
            <a:endParaRPr lang="en-US" sz="800" b="1" dirty="0">
              <a:solidFill>
                <a:schemeClr val="accent4">
                  <a:lumMod val="7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784793" y="1906795"/>
            <a:ext cx="10945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Grunt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provides Automated task scripting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7851532" y="2551789"/>
            <a:ext cx="786636" cy="918283"/>
            <a:chOff x="8210070" y="2763089"/>
            <a:chExt cx="933930" cy="1631111"/>
          </a:xfrm>
        </p:grpSpPr>
        <p:sp>
          <p:nvSpPr>
            <p:cNvPr id="45" name="Down Arrow 44"/>
            <p:cNvSpPr/>
            <p:nvPr/>
          </p:nvSpPr>
          <p:spPr bwMode="auto">
            <a:xfrm rot="10800000" flipV="1">
              <a:off x="8210070" y="2763093"/>
              <a:ext cx="933930" cy="1631107"/>
            </a:xfrm>
            <a:prstGeom prst="downArrow">
              <a:avLst/>
            </a:prstGeom>
            <a:solidFill>
              <a:srgbClr val="CC0000"/>
            </a:solidFill>
            <a:ln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 rot="5400000">
              <a:off x="7975967" y="3188317"/>
              <a:ext cx="1398566" cy="548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latin typeface="Avenir Next Regular"/>
                  <a:cs typeface="Avenir Next Regular"/>
                </a:rPr>
                <a:t>Passes Automated QA</a:t>
              </a:r>
              <a:endParaRPr lang="en-US" sz="800" dirty="0">
                <a:solidFill>
                  <a:schemeClr val="bg1"/>
                </a:solidFill>
                <a:latin typeface="Avenir Next Regular"/>
                <a:cs typeface="Avenir Next Regular"/>
              </a:endParaRPr>
            </a:p>
          </p:txBody>
        </p:sp>
      </p:grpSp>
      <p:pic>
        <p:nvPicPr>
          <p:cNvPr id="47" name="Picture 2" descr="http://connect.icrossing.co.uk/wp-content/uploads/2013/04/DesktopMobile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35400" y="3530018"/>
            <a:ext cx="1717532" cy="518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Down Arrow 47"/>
          <p:cNvSpPr/>
          <p:nvPr/>
        </p:nvSpPr>
        <p:spPr bwMode="auto">
          <a:xfrm rot="16200000" flipV="1">
            <a:off x="7444279" y="3567598"/>
            <a:ext cx="477217" cy="460001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039630" y="1515579"/>
            <a:ext cx="7817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Jenkins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begins automated build &amp; deploy proces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447551" y="1931303"/>
            <a:ext cx="141061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JS Hint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runs code quality tests and </a:t>
            </a:r>
            <a:r>
              <a:rPr lang="en-US" sz="900" b="1" dirty="0">
                <a:solidFill>
                  <a:srgbClr val="C91C15"/>
                </a:solidFill>
                <a:latin typeface="Avenir Next Regular"/>
                <a:cs typeface="Avenir Next Regular"/>
              </a:rPr>
              <a:t>P</a:t>
            </a:r>
            <a:r>
              <a:rPr lang="en-US" sz="9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lato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 runs code analyse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6904" y="3498779"/>
            <a:ext cx="828980" cy="643139"/>
          </a:xfrm>
          <a:prstGeom prst="rect">
            <a:avLst/>
          </a:prstGeom>
          <a:ln w="28575" cmpd="sng">
            <a:solidFill>
              <a:srgbClr val="CC0000"/>
            </a:solidFill>
          </a:ln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443" y="1395871"/>
            <a:ext cx="813002" cy="701813"/>
          </a:xfrm>
          <a:prstGeom prst="rect">
            <a:avLst/>
          </a:prstGeom>
          <a:ln w="28575" cmpd="sng">
            <a:solidFill>
              <a:srgbClr val="CC0000"/>
            </a:solidFill>
          </a:ln>
        </p:spPr>
      </p:pic>
      <p:sp>
        <p:nvSpPr>
          <p:cNvPr id="53" name="TextBox 52"/>
          <p:cNvSpPr txBox="1"/>
          <p:nvPr/>
        </p:nvSpPr>
        <p:spPr>
          <a:xfrm>
            <a:off x="596472" y="4048356"/>
            <a:ext cx="105580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Feedback is passed to developer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54" name="Down Arrow 53"/>
          <p:cNvSpPr/>
          <p:nvPr/>
        </p:nvSpPr>
        <p:spPr bwMode="auto">
          <a:xfrm rot="16200000" flipV="1">
            <a:off x="1607699" y="3445082"/>
            <a:ext cx="477217" cy="494032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231993" y="4209049"/>
            <a:ext cx="29038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QA Testers test on multiple devices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57" name="Down Arrow 56"/>
          <p:cNvSpPr/>
          <p:nvPr/>
        </p:nvSpPr>
        <p:spPr bwMode="auto">
          <a:xfrm flipV="1">
            <a:off x="808552" y="2958560"/>
            <a:ext cx="615114" cy="352155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6059431" y="1492770"/>
            <a:ext cx="444654" cy="318409"/>
            <a:chOff x="6673844" y="1481449"/>
            <a:chExt cx="805577" cy="723951"/>
          </a:xfrm>
        </p:grpSpPr>
        <p:sp>
          <p:nvSpPr>
            <p:cNvPr id="59" name="Oval 58"/>
            <p:cNvSpPr/>
            <p:nvPr/>
          </p:nvSpPr>
          <p:spPr>
            <a:xfrm>
              <a:off x="6722114" y="1481449"/>
              <a:ext cx="694686" cy="723951"/>
            </a:xfrm>
            <a:prstGeom prst="ellipse">
              <a:avLst/>
            </a:prstGeom>
            <a:solidFill>
              <a:srgbClr val="99663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673844" y="1647871"/>
              <a:ext cx="805577" cy="419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b="1" dirty="0" smtClean="0">
                  <a:solidFill>
                    <a:schemeClr val="bg1">
                      <a:lumMod val="95000"/>
                    </a:schemeClr>
                  </a:solidFill>
                  <a:latin typeface="Avenir Next Regular"/>
                  <a:cs typeface="Avenir Next Regular"/>
                </a:rPr>
                <a:t>mocha</a:t>
              </a:r>
              <a:endParaRPr lang="en-US" sz="600" b="1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endParaRPr>
            </a:p>
          </p:txBody>
        </p:sp>
      </p:grpSp>
      <p:sp>
        <p:nvSpPr>
          <p:cNvPr id="61" name="Down Arrow 60"/>
          <p:cNvSpPr/>
          <p:nvPr/>
        </p:nvSpPr>
        <p:spPr bwMode="auto">
          <a:xfrm rot="5400000" flipV="1">
            <a:off x="7396401" y="1589760"/>
            <a:ext cx="215600" cy="119125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0428" y="1471531"/>
            <a:ext cx="434781" cy="365155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7585570" y="4048356"/>
            <a:ext cx="132904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ode is packaged &amp; readied for deploy by </a:t>
            </a:r>
            <a:r>
              <a:rPr lang="en-US" sz="10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Grunt</a:t>
            </a:r>
            <a:endParaRPr lang="en-US" sz="1000" b="1" dirty="0">
              <a:solidFill>
                <a:schemeClr val="accent4">
                  <a:lumMod val="7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618175" y="2079232"/>
            <a:ext cx="13673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heck-in merged to </a:t>
            </a:r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Phabricator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for pre-commit review by senior developer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3327" y="3659660"/>
            <a:ext cx="351882" cy="376547"/>
          </a:xfrm>
          <a:prstGeom prst="rect">
            <a:avLst/>
          </a:prstGeom>
        </p:spPr>
      </p:pic>
      <p:sp>
        <p:nvSpPr>
          <p:cNvPr id="73" name="TextBox 72"/>
          <p:cNvSpPr txBox="1"/>
          <p:nvPr/>
        </p:nvSpPr>
        <p:spPr>
          <a:xfrm>
            <a:off x="5650464" y="4157951"/>
            <a:ext cx="18474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ode is deployed to environments by </a:t>
            </a:r>
            <a:r>
              <a:rPr lang="en-US" sz="10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Jenkins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via </a:t>
            </a:r>
            <a:r>
              <a:rPr lang="en-US" sz="1000" b="1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Docker</a:t>
            </a:r>
            <a:endParaRPr lang="en-US" sz="1000" b="1" dirty="0">
              <a:solidFill>
                <a:srgbClr val="CA2F31"/>
              </a:solidFill>
              <a:latin typeface="Avenir Next Regular"/>
              <a:cs typeface="Avenir Next Regular"/>
            </a:endParaRP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587" y="3500782"/>
            <a:ext cx="699957" cy="581867"/>
          </a:xfrm>
          <a:prstGeom prst="rect">
            <a:avLst/>
          </a:prstGeom>
        </p:spPr>
      </p:pic>
      <p:sp>
        <p:nvSpPr>
          <p:cNvPr id="75" name="Down Arrow 74"/>
          <p:cNvSpPr/>
          <p:nvPr/>
        </p:nvSpPr>
        <p:spPr bwMode="auto">
          <a:xfrm rot="16200000" flipV="1">
            <a:off x="5230836" y="3630641"/>
            <a:ext cx="477217" cy="333917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76" name="Picture 75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5199" y="1574848"/>
            <a:ext cx="589306" cy="190917"/>
          </a:xfrm>
          <a:prstGeom prst="rect">
            <a:avLst/>
          </a:prstGeom>
        </p:spPr>
      </p:pic>
      <p:sp>
        <p:nvSpPr>
          <p:cNvPr id="77" name="Down Arrow 76"/>
          <p:cNvSpPr/>
          <p:nvPr/>
        </p:nvSpPr>
        <p:spPr bwMode="auto">
          <a:xfrm rot="5400000" flipV="1">
            <a:off x="2742708" y="1561583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78" name="Down Arrow 77"/>
          <p:cNvSpPr/>
          <p:nvPr/>
        </p:nvSpPr>
        <p:spPr bwMode="auto">
          <a:xfrm rot="5400000" flipV="1">
            <a:off x="3768248" y="1551030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2919796" y="1909665"/>
            <a:ext cx="9883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Once code review is approved, </a:t>
            </a:r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git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is used to push the code update to development branch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4176" y="1370193"/>
            <a:ext cx="394352" cy="342660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12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2863" y="1637729"/>
            <a:ext cx="208643" cy="255979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91190" y="1426431"/>
            <a:ext cx="866252" cy="582443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993" y="3530018"/>
            <a:ext cx="869658" cy="434829"/>
          </a:xfrm>
          <a:prstGeom prst="rect">
            <a:avLst/>
          </a:prstGeom>
        </p:spPr>
      </p:pic>
      <p:grpSp>
        <p:nvGrpSpPr>
          <p:cNvPr id="91" name="Group 90"/>
          <p:cNvGrpSpPr/>
          <p:nvPr/>
        </p:nvGrpSpPr>
        <p:grpSpPr>
          <a:xfrm>
            <a:off x="8264403" y="153785"/>
            <a:ext cx="495290" cy="495290"/>
            <a:chOff x="3767129" y="3823416"/>
            <a:chExt cx="321235" cy="321235"/>
          </a:xfrm>
        </p:grpSpPr>
        <p:sp>
          <p:nvSpPr>
            <p:cNvPr id="89" name="Oval 88"/>
            <p:cNvSpPr/>
            <p:nvPr/>
          </p:nvSpPr>
          <p:spPr>
            <a:xfrm>
              <a:off x="3767129" y="3823416"/>
              <a:ext cx="321235" cy="32123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Next Regular"/>
                <a:cs typeface="Avenir Next Regular"/>
              </a:endParaRPr>
            </a:p>
          </p:txBody>
        </p:sp>
        <p:pic>
          <p:nvPicPr>
            <p:cNvPr id="90" name="Picture 89"/>
            <p:cNvPicPr>
              <a:picLocks noChangeAspect="1"/>
            </p:cNvPicPr>
            <p:nvPr/>
          </p:nvPicPr>
          <p:blipFill rotWithShape="1">
            <a:blip r:embed="rId15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33205" y="3880463"/>
              <a:ext cx="201649" cy="209177"/>
            </a:xfrm>
            <a:prstGeom prst="rect">
              <a:avLst/>
            </a:prstGeom>
          </p:spPr>
        </p:pic>
      </p:grpSp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4773" y="3530018"/>
            <a:ext cx="1053862" cy="594587"/>
          </a:xfrm>
          <a:prstGeom prst="rect">
            <a:avLst/>
          </a:prstGeom>
        </p:spPr>
      </p:pic>
      <p:sp>
        <p:nvSpPr>
          <p:cNvPr id="63" name="Down Arrow 62"/>
          <p:cNvSpPr/>
          <p:nvPr/>
        </p:nvSpPr>
        <p:spPr bwMode="auto">
          <a:xfrm rot="5400000" flipV="1">
            <a:off x="5667187" y="1561583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8" name="Left-Right Arrow 7"/>
          <p:cNvSpPr/>
          <p:nvPr/>
        </p:nvSpPr>
        <p:spPr>
          <a:xfrm rot="8297619">
            <a:off x="4754626" y="2492956"/>
            <a:ext cx="438651" cy="319920"/>
          </a:xfrm>
          <a:prstGeom prst="leftRight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3689" y="1263628"/>
            <a:ext cx="444848" cy="47603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2932" y="2689233"/>
            <a:ext cx="588433" cy="229024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5545" y="2903081"/>
            <a:ext cx="391578" cy="391578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876" y="1423571"/>
            <a:ext cx="704150" cy="508625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>
            <a:off x="4973951" y="2648328"/>
            <a:ext cx="14113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ode artifacts, including applications are stored/retrieved in </a:t>
            </a:r>
            <a:r>
              <a:rPr lang="en-US" sz="9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NPM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 and </a:t>
            </a:r>
            <a:r>
              <a:rPr lang="en-US" sz="9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Bower </a:t>
            </a:r>
            <a:endParaRPr lang="en-US" sz="900" b="1" dirty="0">
              <a:solidFill>
                <a:srgbClr val="C91C15"/>
              </a:solidFill>
              <a:latin typeface="Avenir Next Regular"/>
              <a:cs typeface="Avenir Next Regular"/>
            </a:endParaRP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2932" y="2995371"/>
            <a:ext cx="414122" cy="13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80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>
                <a:latin typeface="Arial"/>
                <a:cs typeface="Arial"/>
              </a:rPr>
              <a:t>Confidential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rial"/>
                <a:cs typeface="Arial"/>
              </a:rPr>
              <a:pPr defTabSz="914400"/>
              <a:t>12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7" name="Content Placeholder 1"/>
          <p:cNvSpPr txBox="1">
            <a:spLocks/>
          </p:cNvSpPr>
          <p:nvPr/>
        </p:nvSpPr>
        <p:spPr>
          <a:xfrm>
            <a:off x="3401279" y="842212"/>
            <a:ext cx="5581663" cy="365629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»"/>
              <a:defRPr sz="14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00" b="1" dirty="0" smtClean="0">
                <a:solidFill>
                  <a:srgbClr val="F70043"/>
                </a:solidFill>
                <a:latin typeface="Avenir Next Regular"/>
                <a:cs typeface="Avenir Next Regular"/>
              </a:rPr>
              <a:t>What is responsive design?</a:t>
            </a: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A Web design and development methodology that helps ensure the user interface delivers an optimal viewing experience on any screen size</a:t>
            </a:r>
          </a:p>
          <a:p>
            <a:pPr lvl="1">
              <a:lnSpc>
                <a:spcPct val="120000"/>
              </a:lnSpc>
            </a:pPr>
            <a:endParaRPr lang="en-US" sz="1050" dirty="0" smtClean="0">
              <a:latin typeface="Avenir Next Regular"/>
              <a:cs typeface="Avenir Next Regular"/>
            </a:endParaRPr>
          </a:p>
          <a:p>
            <a:pPr>
              <a:lnSpc>
                <a:spcPct val="120000"/>
              </a:lnSpc>
            </a:pPr>
            <a:r>
              <a:rPr lang="en-US" sz="1100" b="1" dirty="0" smtClean="0">
                <a:solidFill>
                  <a:srgbClr val="F70043"/>
                </a:solidFill>
                <a:latin typeface="Avenir Next Regular"/>
                <a:cs typeface="Avenir Next Regular"/>
              </a:rPr>
              <a:t>K</a:t>
            </a:r>
            <a:r>
              <a:rPr lang="en-US" sz="1200" b="1" dirty="0" smtClean="0">
                <a:solidFill>
                  <a:srgbClr val="F70043"/>
                </a:solidFill>
                <a:latin typeface="Avenir Next Regular"/>
                <a:cs typeface="Avenir Next Regular"/>
              </a:rPr>
              <a:t>ey Components</a:t>
            </a: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Grid System</a:t>
            </a: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CSS3 Media Queries</a:t>
            </a: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Fluid Components</a:t>
            </a: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Progressive Enhancement</a:t>
            </a:r>
          </a:p>
          <a:p>
            <a:pPr lvl="1">
              <a:lnSpc>
                <a:spcPct val="120000"/>
              </a:lnSpc>
            </a:pPr>
            <a:endParaRPr lang="en-US" sz="1000" dirty="0">
              <a:latin typeface="Avenir Next Regular"/>
              <a:cs typeface="Avenir Next Regular"/>
            </a:endParaRPr>
          </a:p>
          <a:p>
            <a:pPr>
              <a:lnSpc>
                <a:spcPct val="120000"/>
              </a:lnSpc>
            </a:pPr>
            <a:r>
              <a:rPr lang="en-US" sz="1200" b="1" dirty="0" smtClean="0">
                <a:solidFill>
                  <a:srgbClr val="F70043"/>
                </a:solidFill>
                <a:latin typeface="Avenir Next Regular"/>
                <a:cs typeface="Avenir Next Regular"/>
              </a:rPr>
              <a:t>Why ‘Evolved’?</a:t>
            </a: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Responsive design is more than just mobile and desktop, it’s </a:t>
            </a:r>
            <a:r>
              <a:rPr lang="en-US" sz="1000" i="1" dirty="0" smtClean="0">
                <a:latin typeface="Avenir Next Regular"/>
                <a:cs typeface="Avenir Next Regular"/>
              </a:rPr>
              <a:t>everything</a:t>
            </a:r>
            <a:endParaRPr lang="en-US" sz="1000" dirty="0" smtClean="0">
              <a:latin typeface="Avenir Next Regular"/>
              <a:cs typeface="Avenir Next Regular"/>
            </a:endParaRP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Web technologies have become pervasive UI technologies for televisions, refrigerators, smart devices, and many more</a:t>
            </a:r>
          </a:p>
          <a:p>
            <a:pPr lvl="1">
              <a:lnSpc>
                <a:spcPct val="120000"/>
              </a:lnSpc>
            </a:pPr>
            <a:r>
              <a:rPr lang="en-US" sz="1000" dirty="0" smtClean="0">
                <a:latin typeface="Avenir Next Regular"/>
                <a:cs typeface="Avenir Next Regular"/>
              </a:rPr>
              <a:t>Responsive as a methodology must evolve to support these new form factors without increased complexity or entirely separate applications </a:t>
            </a:r>
            <a:r>
              <a:rPr lang="en-US" sz="1000" i="1" dirty="0" smtClean="0">
                <a:latin typeface="Avenir Next Regular"/>
                <a:cs typeface="Avenir Next Regular"/>
              </a:rPr>
              <a:t> </a:t>
            </a:r>
            <a:endParaRPr lang="en-US" sz="1200" dirty="0">
              <a:latin typeface="Avenir Next Regular"/>
              <a:cs typeface="Avenir Next Regular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071" y="958454"/>
            <a:ext cx="2795772" cy="166747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857250"/>
          </a:xfrm>
        </p:spPr>
        <p:txBody>
          <a:bodyPr/>
          <a:lstStyle/>
          <a:p>
            <a:r>
              <a:rPr lang="en-US" dirty="0" smtClean="0">
                <a:solidFill>
                  <a:srgbClr val="F70043"/>
                </a:solidFill>
              </a:rPr>
              <a:t>Responsive Design Evolved</a:t>
            </a:r>
            <a:endParaRPr lang="en-US" dirty="0">
              <a:solidFill>
                <a:srgbClr val="F70043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8275922" y="171924"/>
            <a:ext cx="473710" cy="471761"/>
            <a:chOff x="3409384" y="2158508"/>
            <a:chExt cx="345410" cy="343989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09384" y="2158508"/>
              <a:ext cx="345410" cy="343989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02770" y="2173449"/>
              <a:ext cx="165288" cy="305249"/>
            </a:xfrm>
            <a:prstGeom prst="rect">
              <a:avLst/>
            </a:prstGeom>
          </p:spPr>
        </p:pic>
      </p:grpSp>
      <p:sp>
        <p:nvSpPr>
          <p:cNvPr id="2" name="Right Arrow 1"/>
          <p:cNvSpPr/>
          <p:nvPr/>
        </p:nvSpPr>
        <p:spPr>
          <a:xfrm rot="5400000">
            <a:off x="1627364" y="2570940"/>
            <a:ext cx="276757" cy="842642"/>
          </a:xfrm>
          <a:prstGeom prst="right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415" y="3377257"/>
            <a:ext cx="1139013" cy="67934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531261" y="3298173"/>
            <a:ext cx="1852653" cy="12003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rgbClr val="40404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dd same UI on </a:t>
            </a:r>
          </a:p>
          <a:p>
            <a:pPr algn="ctr"/>
            <a:r>
              <a:rPr lang="en-US" dirty="0" smtClean="0"/>
              <a:t>Wearable</a:t>
            </a:r>
          </a:p>
          <a:p>
            <a:pPr algn="ctr"/>
            <a:r>
              <a:rPr lang="en-US" dirty="0" smtClean="0"/>
              <a:t>TV</a:t>
            </a:r>
          </a:p>
          <a:p>
            <a:pPr algn="ctr"/>
            <a:r>
              <a:rPr lang="en-US" dirty="0" smtClean="0"/>
              <a:t>Kiosk 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702800" y="65024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6736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88B74"/>
                </a:solidFill>
              </a:rPr>
              <a:t>Understanding Lightweight Architecture</a:t>
            </a:r>
            <a:endParaRPr lang="en-US" dirty="0">
              <a:solidFill>
                <a:srgbClr val="188B7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86778" y="4774415"/>
            <a:ext cx="358552" cy="274637"/>
          </a:xfrm>
        </p:spPr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rial"/>
                <a:cs typeface="Arial"/>
              </a:rPr>
              <a:pPr defTabSz="914400"/>
              <a:t>13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83914" y="70739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C91C15"/>
              </a:solidFill>
              <a:latin typeface="Arial"/>
              <a:cs typeface="Arial"/>
            </a:endParaRPr>
          </a:p>
        </p:txBody>
      </p:sp>
      <p:sp>
        <p:nvSpPr>
          <p:cNvPr id="59" name="Content Placeholder 7"/>
          <p:cNvSpPr>
            <a:spLocks noGrp="1"/>
          </p:cNvSpPr>
          <p:nvPr>
            <p:ph idx="4294967295"/>
          </p:nvPr>
        </p:nvSpPr>
        <p:spPr>
          <a:xfrm>
            <a:off x="126998" y="1266709"/>
            <a:ext cx="6360492" cy="259973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200" b="1" dirty="0" smtClean="0">
                <a:solidFill>
                  <a:srgbClr val="C91C15"/>
                </a:solidFill>
              </a:rPr>
              <a:t>Lightweight applications </a:t>
            </a:r>
            <a:r>
              <a:rPr lang="en-US" sz="1200" b="1" dirty="0">
                <a:solidFill>
                  <a:srgbClr val="C91C15"/>
                </a:solidFill>
              </a:rPr>
              <a:t>are purpose-built and leverage an ecosystem of </a:t>
            </a:r>
            <a:r>
              <a:rPr lang="en-US" sz="1200" b="1" dirty="0" smtClean="0">
                <a:solidFill>
                  <a:srgbClr val="C91C15"/>
                </a:solidFill>
              </a:rPr>
              <a:t>components</a:t>
            </a:r>
            <a:endParaRPr lang="en-US" sz="1200" b="1" dirty="0">
              <a:solidFill>
                <a:srgbClr val="C91C15"/>
              </a:solidFill>
            </a:endParaRPr>
          </a:p>
          <a:p>
            <a:r>
              <a:rPr lang="en-US" sz="1050" dirty="0" smtClean="0">
                <a:solidFill>
                  <a:srgbClr val="0D0D0D"/>
                </a:solidFill>
              </a:rPr>
              <a:t>Lightweight architectures are modular and utilize community open source components </a:t>
            </a:r>
          </a:p>
          <a:p>
            <a:r>
              <a:rPr lang="en-US" sz="1050" dirty="0" smtClean="0">
                <a:solidFill>
                  <a:srgbClr val="0D0D0D"/>
                </a:solidFill>
              </a:rPr>
              <a:t>Fully distributed systems are standard; components designed to run on commodity hardware </a:t>
            </a:r>
          </a:p>
          <a:p>
            <a:r>
              <a:rPr lang="en-US" sz="1050" dirty="0" smtClean="0">
                <a:solidFill>
                  <a:srgbClr val="0D0D0D"/>
                </a:solidFill>
              </a:rPr>
              <a:t>Brings </a:t>
            </a:r>
            <a:r>
              <a:rPr lang="en-US" sz="1050" dirty="0">
                <a:solidFill>
                  <a:srgbClr val="0D0D0D"/>
                </a:solidFill>
              </a:rPr>
              <a:t>the ability to swap components in and out as technology </a:t>
            </a:r>
            <a:r>
              <a:rPr lang="en-US" sz="1050" dirty="0" smtClean="0">
                <a:solidFill>
                  <a:srgbClr val="0D0D0D"/>
                </a:solidFill>
              </a:rPr>
              <a:t>evolves</a:t>
            </a:r>
          </a:p>
          <a:p>
            <a:r>
              <a:rPr lang="en-US" sz="1050" i="1" dirty="0" smtClean="0">
                <a:solidFill>
                  <a:srgbClr val="0D0D0D"/>
                </a:solidFill>
                <a:latin typeface="Avenir Next Medium"/>
                <a:cs typeface="Avenir Next Medium"/>
              </a:rPr>
              <a:t>A lightweight architecture is not required for Client/API applications, but will enable far superior experiences</a:t>
            </a:r>
            <a:endParaRPr lang="en-US" sz="1050" i="1" dirty="0">
              <a:solidFill>
                <a:srgbClr val="0D0D0D"/>
              </a:solidFill>
              <a:latin typeface="Avenir Next Medium"/>
              <a:cs typeface="Avenir Next Medium"/>
            </a:endParaRPr>
          </a:p>
          <a:p>
            <a:pPr marL="0" indent="0">
              <a:buNone/>
            </a:pPr>
            <a:endParaRPr lang="en-US" sz="400" b="1" dirty="0"/>
          </a:p>
          <a:p>
            <a:pPr marL="0" indent="0">
              <a:buNone/>
            </a:pPr>
            <a:r>
              <a:rPr lang="en-US" sz="1200" b="1" dirty="0" smtClean="0">
                <a:solidFill>
                  <a:srgbClr val="C91C15"/>
                </a:solidFill>
              </a:rPr>
              <a:t>Traditional frameworks are built to serve the same function as Swiss Army knives</a:t>
            </a:r>
          </a:p>
          <a:p>
            <a:r>
              <a:rPr lang="en-US" sz="1050" dirty="0" smtClean="0"/>
              <a:t>They don’t do any one thing particularly well</a:t>
            </a:r>
          </a:p>
          <a:p>
            <a:r>
              <a:rPr lang="en-US" sz="1050" dirty="0"/>
              <a:t>C</a:t>
            </a:r>
            <a:r>
              <a:rPr lang="en-US" sz="1050" dirty="0" smtClean="0"/>
              <a:t>omponents need to be extensively modified to fit requirements</a:t>
            </a:r>
          </a:p>
          <a:p>
            <a:r>
              <a:rPr lang="en-US" sz="1050" dirty="0" smtClean="0"/>
              <a:t>Lead to multiple drawbacks</a:t>
            </a:r>
            <a:r>
              <a:rPr lang="en-US" sz="1050" dirty="0"/>
              <a:t>:</a:t>
            </a:r>
            <a:r>
              <a:rPr lang="en-US" sz="1050" dirty="0" smtClean="0"/>
              <a:t> difficulty upgrading, lack of compatibility, </a:t>
            </a:r>
            <a:r>
              <a:rPr lang="en-US" sz="1050" dirty="0" smtClean="0">
                <a:solidFill>
                  <a:srgbClr val="0D0D0D"/>
                </a:solidFill>
              </a:rPr>
              <a:t>etc.</a:t>
            </a:r>
          </a:p>
          <a:p>
            <a:r>
              <a:rPr lang="en-US" sz="1050" dirty="0" smtClean="0">
                <a:solidFill>
                  <a:srgbClr val="0D0D0D"/>
                </a:solidFill>
              </a:rPr>
              <a:t>Lead to significantly higher operating cost</a:t>
            </a:r>
          </a:p>
          <a:p>
            <a:pPr marL="0" indent="0">
              <a:buNone/>
            </a:pPr>
            <a:endParaRPr lang="en-US" sz="1200" dirty="0" smtClean="0">
              <a:solidFill>
                <a:srgbClr val="0D0D0D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126998" y="681933"/>
            <a:ext cx="895896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rgbClr val="CC0000"/>
                </a:solidFill>
                <a:latin typeface="Avenir Next Condensed Medium"/>
                <a:cs typeface="Avenir Next Condensed Medium"/>
              </a:rPr>
              <a:t>Lightweight architecture is a set of principles, patterns, and technologies that enable enterprise applications to be delivered with the same capabilities that internet scale startups once had solely to themselves</a:t>
            </a:r>
            <a:endParaRPr lang="en-US" sz="1600" i="1" dirty="0">
              <a:solidFill>
                <a:srgbClr val="CC0000"/>
              </a:solidFill>
              <a:latin typeface="Avenir Next Regular"/>
              <a:cs typeface="Avenir Next Regular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237904" y="129335"/>
            <a:ext cx="578061" cy="578061"/>
            <a:chOff x="8237904" y="129335"/>
            <a:chExt cx="578061" cy="578061"/>
          </a:xfrm>
        </p:grpSpPr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2093" y="143654"/>
              <a:ext cx="511989" cy="509881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7904" y="129335"/>
              <a:ext cx="578061" cy="578061"/>
            </a:xfrm>
            <a:prstGeom prst="rect">
              <a:avLst/>
            </a:prstGeom>
          </p:spPr>
        </p:pic>
      </p:grpSp>
      <p:grpSp>
        <p:nvGrpSpPr>
          <p:cNvPr id="49" name="Group 48"/>
          <p:cNvGrpSpPr/>
          <p:nvPr/>
        </p:nvGrpSpPr>
        <p:grpSpPr>
          <a:xfrm>
            <a:off x="6468676" y="1266709"/>
            <a:ext cx="2617282" cy="3330691"/>
            <a:chOff x="6146800" y="1224374"/>
            <a:chExt cx="2617282" cy="3330691"/>
          </a:xfrm>
        </p:grpSpPr>
        <p:sp>
          <p:nvSpPr>
            <p:cNvPr id="48" name="Rectangle 47"/>
            <p:cNvSpPr/>
            <p:nvPr/>
          </p:nvSpPr>
          <p:spPr>
            <a:xfrm>
              <a:off x="6146800" y="1224374"/>
              <a:ext cx="2617282" cy="33306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272992" y="1362825"/>
              <a:ext cx="884904" cy="324464"/>
            </a:xfrm>
            <a:prstGeom prst="rect">
              <a:avLst/>
            </a:prstGeom>
            <a:solidFill>
              <a:srgbClr val="FF3333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Browser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272992" y="2101157"/>
              <a:ext cx="884904" cy="324464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SW LB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72992" y="2951616"/>
              <a:ext cx="884904" cy="324464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Service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737995" y="2951637"/>
              <a:ext cx="884904" cy="329401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Service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272992" y="3575171"/>
              <a:ext cx="884904" cy="324464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Store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272992" y="4093801"/>
              <a:ext cx="884904" cy="324464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Disk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cxnSp>
          <p:nvCxnSpPr>
            <p:cNvPr id="27" name="Straight Connector 26"/>
            <p:cNvCxnSpPr>
              <a:stCxn id="25" idx="2"/>
              <a:endCxn id="26" idx="0"/>
            </p:cNvCxnSpPr>
            <p:nvPr/>
          </p:nvCxnSpPr>
          <p:spPr>
            <a:xfrm>
              <a:off x="6715444" y="3899635"/>
              <a:ext cx="0" cy="19416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>
              <a:stCxn id="22" idx="2"/>
              <a:endCxn id="23" idx="0"/>
            </p:cNvCxnSpPr>
            <p:nvPr/>
          </p:nvCxnSpPr>
          <p:spPr>
            <a:xfrm>
              <a:off x="6715444" y="2425621"/>
              <a:ext cx="0" cy="52599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>
              <a:stCxn id="22" idx="2"/>
              <a:endCxn id="24" idx="0"/>
            </p:cNvCxnSpPr>
            <p:nvPr/>
          </p:nvCxnSpPr>
          <p:spPr>
            <a:xfrm>
              <a:off x="6715444" y="2425621"/>
              <a:ext cx="1465003" cy="52601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stCxn id="21" idx="2"/>
              <a:endCxn id="22" idx="0"/>
            </p:cNvCxnSpPr>
            <p:nvPr/>
          </p:nvCxnSpPr>
          <p:spPr>
            <a:xfrm>
              <a:off x="6715444" y="1687289"/>
              <a:ext cx="0" cy="413868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/>
            <p:cNvSpPr/>
            <p:nvPr/>
          </p:nvSpPr>
          <p:spPr>
            <a:xfrm>
              <a:off x="7737995" y="2101157"/>
              <a:ext cx="884904" cy="324464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SW LB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cxnSp>
          <p:nvCxnSpPr>
            <p:cNvPr id="32" name="Straight Connector 31"/>
            <p:cNvCxnSpPr>
              <a:stCxn id="22" idx="3"/>
              <a:endCxn id="31" idx="1"/>
            </p:cNvCxnSpPr>
            <p:nvPr/>
          </p:nvCxnSpPr>
          <p:spPr>
            <a:xfrm>
              <a:off x="7157896" y="2263389"/>
              <a:ext cx="580099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>
              <a:stCxn id="31" idx="2"/>
              <a:endCxn id="24" idx="0"/>
            </p:cNvCxnSpPr>
            <p:nvPr/>
          </p:nvCxnSpPr>
          <p:spPr>
            <a:xfrm>
              <a:off x="8180447" y="2425621"/>
              <a:ext cx="0" cy="52601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stCxn id="31" idx="2"/>
              <a:endCxn id="23" idx="0"/>
            </p:cNvCxnSpPr>
            <p:nvPr/>
          </p:nvCxnSpPr>
          <p:spPr>
            <a:xfrm flipH="1">
              <a:off x="6715444" y="2425621"/>
              <a:ext cx="1465003" cy="52599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>
              <a:stCxn id="23" idx="2"/>
              <a:endCxn id="25" idx="0"/>
            </p:cNvCxnSpPr>
            <p:nvPr/>
          </p:nvCxnSpPr>
          <p:spPr>
            <a:xfrm>
              <a:off x="6715444" y="3276080"/>
              <a:ext cx="0" cy="29909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/>
            <p:cNvSpPr/>
            <p:nvPr/>
          </p:nvSpPr>
          <p:spPr>
            <a:xfrm>
              <a:off x="7737995" y="3575171"/>
              <a:ext cx="884904" cy="324464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Store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cxnSp>
          <p:nvCxnSpPr>
            <p:cNvPr id="37" name="Straight Connector 36"/>
            <p:cNvCxnSpPr>
              <a:stCxn id="24" idx="2"/>
              <a:endCxn id="36" idx="0"/>
            </p:cNvCxnSpPr>
            <p:nvPr/>
          </p:nvCxnSpPr>
          <p:spPr>
            <a:xfrm>
              <a:off x="8180447" y="3281038"/>
              <a:ext cx="0" cy="294133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>
            <a:xfrm>
              <a:off x="7737995" y="4083969"/>
              <a:ext cx="884904" cy="324464"/>
            </a:xfrm>
            <a:prstGeom prst="rect">
              <a:avLst/>
            </a:prstGeom>
            <a:solidFill>
              <a:srgbClr val="9C1C15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95000"/>
                    </a:schemeClr>
                  </a:solidFill>
                </a:rPr>
                <a:t>Disk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cxnSp>
          <p:nvCxnSpPr>
            <p:cNvPr id="39" name="Straight Connector 38"/>
            <p:cNvCxnSpPr>
              <a:stCxn id="36" idx="2"/>
              <a:endCxn id="38" idx="0"/>
            </p:cNvCxnSpPr>
            <p:nvPr/>
          </p:nvCxnSpPr>
          <p:spPr>
            <a:xfrm>
              <a:off x="8180447" y="3899635"/>
              <a:ext cx="0" cy="18433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36" idx="1"/>
              <a:endCxn id="25" idx="3"/>
            </p:cNvCxnSpPr>
            <p:nvPr/>
          </p:nvCxnSpPr>
          <p:spPr>
            <a:xfrm flipH="1">
              <a:off x="7157896" y="3737403"/>
              <a:ext cx="580099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2"/>
          <p:cNvSpPr/>
          <p:nvPr/>
        </p:nvSpPr>
        <p:spPr>
          <a:xfrm>
            <a:off x="56442" y="3941970"/>
            <a:ext cx="6350000" cy="655430"/>
          </a:xfrm>
          <a:prstGeom prst="rect">
            <a:avLst/>
          </a:prstGeom>
          <a:solidFill>
            <a:srgbClr val="9C1C1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US" sz="1250" b="1" dirty="0" smtClean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rPr>
              <a:t>Behind </a:t>
            </a:r>
            <a:r>
              <a:rPr lang="en-US" sz="1250" b="1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rPr>
              <a:t>that </a:t>
            </a:r>
            <a:r>
              <a:rPr lang="en-US" sz="1250" b="1" dirty="0" smtClean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rPr>
              <a:t>application UI </a:t>
            </a:r>
            <a:r>
              <a:rPr lang="en-US" sz="1250" b="1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rPr>
              <a:t>running in the </a:t>
            </a:r>
            <a:r>
              <a:rPr lang="en-US" sz="1250" b="1" dirty="0" smtClean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rPr>
              <a:t>browser is often a purpose-built distributed architecture that powers the interactive UI with capabilities not possible in traditional architectures</a:t>
            </a:r>
            <a:endParaRPr lang="en-US" sz="1400" b="1" dirty="0">
              <a:solidFill>
                <a:schemeClr val="bg1">
                  <a:lumMod val="95000"/>
                </a:schemeClr>
              </a:solidFill>
              <a:latin typeface="Avenir Next Regular"/>
              <a:cs typeface="Avenir N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728050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these changes?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4760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449" y="101204"/>
            <a:ext cx="8944526" cy="768734"/>
          </a:xfrm>
        </p:spPr>
        <p:txBody>
          <a:bodyPr>
            <a:normAutofit/>
          </a:bodyPr>
          <a:lstStyle/>
          <a:p>
            <a:r>
              <a:rPr lang="en-US" dirty="0" smtClean="0"/>
              <a:t>Why would I make such a radical shift?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15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0" y="1221166"/>
            <a:ext cx="8943975" cy="3352422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Baseline experience and performance expectations for end users is now mobile native apps; </a:t>
            </a:r>
            <a:r>
              <a:rPr lang="en-US" dirty="0"/>
              <a:t> </a:t>
            </a:r>
            <a:r>
              <a:rPr lang="en-US" dirty="0" smtClean="0"/>
              <a:t>these expectations </a:t>
            </a:r>
            <a:r>
              <a:rPr lang="en-US" i="1" dirty="0" smtClean="0">
                <a:solidFill>
                  <a:srgbClr val="C91C15"/>
                </a:solidFill>
              </a:rPr>
              <a:t>cannot</a:t>
            </a:r>
            <a:r>
              <a:rPr lang="en-US" dirty="0" smtClean="0"/>
              <a:t> be supported by traditional Web architectures</a:t>
            </a:r>
          </a:p>
          <a:p>
            <a:endParaRPr lang="en-US" dirty="0" smtClean="0"/>
          </a:p>
          <a:p>
            <a:r>
              <a:rPr lang="en-US" dirty="0" smtClean="0"/>
              <a:t>Don’t create new systems every time you need to upgrade; instead create modular systems capable of evolving</a:t>
            </a:r>
            <a:endParaRPr lang="en-US" dirty="0"/>
          </a:p>
          <a:p>
            <a:endParaRPr lang="en-US" dirty="0"/>
          </a:p>
          <a:p>
            <a:r>
              <a:rPr lang="en-US" dirty="0" smtClean="0"/>
              <a:t>Deliver architecture and high quality experience quickly; application development lifecycle should be months, not years</a:t>
            </a:r>
          </a:p>
          <a:p>
            <a:endParaRPr lang="en-US" dirty="0"/>
          </a:p>
          <a:p>
            <a:r>
              <a:rPr lang="en-US" dirty="0" smtClean="0"/>
              <a:t>Enable fewer developers, designers, and testers to deliver applications for multiple channels despite budget realiti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03200" y="650086"/>
            <a:ext cx="869695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i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Enterprises are evolving toward Client/API approaches rather than continuing to invest in Traditional Web</a:t>
            </a:r>
            <a:endParaRPr lang="en-US" sz="1400" i="1" dirty="0">
              <a:solidFill>
                <a:srgbClr val="C91C15"/>
              </a:solidFill>
              <a:latin typeface="Avenir Next Regular"/>
              <a:cs typeface="Avenir N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74822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ical Challenge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16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0" y="869938"/>
            <a:ext cx="8944525" cy="2441469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Client/API applications can have SEO challenges if not properly architected</a:t>
            </a:r>
          </a:p>
          <a:p>
            <a:endParaRPr lang="en-US" sz="1100" dirty="0" smtClean="0"/>
          </a:p>
          <a:p>
            <a:r>
              <a:rPr lang="en-US" dirty="0" smtClean="0"/>
              <a:t>JavaScript/HTML/CSS client performance is increasing rapidly, but quality is a high stakes game</a:t>
            </a:r>
          </a:p>
          <a:p>
            <a:endParaRPr lang="en-US" sz="1100" dirty="0"/>
          </a:p>
          <a:p>
            <a:r>
              <a:rPr lang="en-US" dirty="0" smtClean="0"/>
              <a:t>If needed, how do we support legacy browsers, accessibility features, </a:t>
            </a:r>
            <a:r>
              <a:rPr lang="en-US" dirty="0" err="1" smtClean="0"/>
              <a:t>etc</a:t>
            </a:r>
            <a:r>
              <a:rPr lang="en-US" dirty="0" smtClean="0"/>
              <a:t>?</a:t>
            </a:r>
          </a:p>
          <a:p>
            <a:endParaRPr lang="en-US" sz="1100" dirty="0"/>
          </a:p>
          <a:p>
            <a:r>
              <a:rPr lang="en-US" dirty="0" smtClean="0"/>
              <a:t>There are many technical challenges that can derail client/API applications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3248571" y="3386555"/>
            <a:ext cx="3960519" cy="1220788"/>
            <a:chOff x="5221109" y="2651760"/>
            <a:chExt cx="3960519" cy="1220788"/>
          </a:xfrm>
        </p:grpSpPr>
        <p:sp>
          <p:nvSpPr>
            <p:cNvPr id="13" name="Rectangle 12"/>
            <p:cNvSpPr/>
            <p:nvPr/>
          </p:nvSpPr>
          <p:spPr>
            <a:xfrm>
              <a:off x="5253191" y="2651760"/>
              <a:ext cx="3859526" cy="12207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56146" y="2735722"/>
              <a:ext cx="1217873" cy="713598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6602377" y="2863027"/>
              <a:ext cx="42380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venir Next Regular"/>
                  <a:cs typeface="Avenir Next Regular"/>
                </a:rPr>
                <a:t>=</a:t>
              </a: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710636" y="2838828"/>
              <a:ext cx="55656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venir Next Regular"/>
                  <a:cs typeface="Avenir Next Regular"/>
                </a:rPr>
                <a:t>or</a:t>
              </a: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69682" y="2886571"/>
              <a:ext cx="670560" cy="413511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5221109" y="3496355"/>
              <a:ext cx="3960519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 smtClean="0">
                  <a:solidFill>
                    <a:srgbClr val="C91C15"/>
                  </a:solidFill>
                  <a:latin typeface="Avenir Next Regular"/>
                  <a:cs typeface="Avenir Next Regular"/>
                </a:rPr>
                <a:t>Performance depends on </a:t>
              </a:r>
              <a:r>
                <a:rPr lang="en-US" sz="1300" b="1" u="sng" dirty="0" smtClean="0">
                  <a:solidFill>
                    <a:srgbClr val="C91C15"/>
                  </a:solidFill>
                  <a:latin typeface="Avenir Next Regular"/>
                  <a:cs typeface="Avenir Next Regular"/>
                </a:rPr>
                <a:t>architecture choices</a:t>
              </a:r>
              <a:r>
                <a:rPr lang="en-US" sz="1300" b="1" dirty="0" smtClean="0">
                  <a:solidFill>
                    <a:srgbClr val="C91C15"/>
                  </a:solidFill>
                  <a:latin typeface="Avenir Next Regular"/>
                  <a:cs typeface="Avenir Next Regular"/>
                </a:rPr>
                <a:t>!</a:t>
              </a:r>
              <a:endParaRPr lang="en-US" sz="1300" b="1" dirty="0">
                <a:solidFill>
                  <a:srgbClr val="C91C15"/>
                </a:solidFill>
                <a:latin typeface="Avenir Next Regular"/>
                <a:cs typeface="Avenir Next Regular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37400" y="2828343"/>
              <a:ext cx="569912" cy="5699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20528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17</a:t>
            </a:fld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508396"/>
          </a:xfrm>
        </p:spPr>
        <p:txBody>
          <a:bodyPr/>
          <a:lstStyle/>
          <a:p>
            <a:r>
              <a:rPr lang="en-US" dirty="0" smtClean="0"/>
              <a:t>JavaScript is an </a:t>
            </a:r>
            <a:r>
              <a:rPr lang="en-US" dirty="0" smtClean="0"/>
              <a:t>Ecosystem, not a Framework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quarter" idx="12"/>
          </p:nvPr>
        </p:nvSpPr>
        <p:spPr>
          <a:xfrm>
            <a:off x="127003" y="1231900"/>
            <a:ext cx="4851397" cy="3341688"/>
          </a:xfrm>
        </p:spPr>
        <p:txBody>
          <a:bodyPr>
            <a:normAutofit fontScale="92500" lnSpcReduction="20000"/>
          </a:bodyPr>
          <a:lstStyle/>
          <a:p>
            <a:r>
              <a:rPr lang="en-US" b="1" dirty="0" smtClean="0"/>
              <a:t>Package Managers</a:t>
            </a:r>
          </a:p>
          <a:p>
            <a:endParaRPr lang="en-US" b="1" dirty="0" smtClean="0"/>
          </a:p>
          <a:p>
            <a:r>
              <a:rPr lang="en-US" b="1" dirty="0" smtClean="0"/>
              <a:t>Task Runner</a:t>
            </a:r>
          </a:p>
          <a:p>
            <a:endParaRPr lang="en-US" b="1" dirty="0" smtClean="0"/>
          </a:p>
          <a:p>
            <a:r>
              <a:rPr lang="en-US" b="1" dirty="0" smtClean="0"/>
              <a:t>Templating Engines</a:t>
            </a:r>
          </a:p>
          <a:p>
            <a:endParaRPr lang="en-US" b="1" dirty="0" smtClean="0"/>
          </a:p>
          <a:p>
            <a:r>
              <a:rPr lang="en-US" b="1" dirty="0" smtClean="0"/>
              <a:t>Reactive Programming</a:t>
            </a:r>
          </a:p>
          <a:p>
            <a:endParaRPr lang="en-US" b="1" dirty="0" smtClean="0"/>
          </a:p>
          <a:p>
            <a:r>
              <a:rPr lang="en-US" b="1" dirty="0" smtClean="0"/>
              <a:t>UI Libraries</a:t>
            </a:r>
          </a:p>
          <a:p>
            <a:endParaRPr lang="en-US" b="1" dirty="0" smtClean="0"/>
          </a:p>
          <a:p>
            <a:r>
              <a:rPr lang="en-US" b="1" dirty="0" smtClean="0"/>
              <a:t>MV* Frameworks / Libraries</a:t>
            </a:r>
            <a:endParaRPr lang="en-US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126999" y="667476"/>
            <a:ext cx="8944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solidFill>
                  <a:srgbClr val="C91C15"/>
                </a:solidFill>
                <a:latin typeface="Avenir Book"/>
                <a:cs typeface="Avenir Book"/>
              </a:rPr>
              <a:t>JavaScript has a tool and library ecosystem that is unrivalled. </a:t>
            </a:r>
            <a:endParaRPr lang="en-US" i="1" dirty="0">
              <a:solidFill>
                <a:srgbClr val="C91C15"/>
              </a:solidFill>
              <a:latin typeface="Avenir Book"/>
              <a:cs typeface="Avenir Book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085" y="1638299"/>
            <a:ext cx="613312" cy="69418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0398" y="1651000"/>
            <a:ext cx="642796" cy="64279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339" y="1124253"/>
            <a:ext cx="551901" cy="55190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5540" y="1060753"/>
            <a:ext cx="673100" cy="673100"/>
          </a:xfrm>
          <a:prstGeom prst="rect">
            <a:avLst/>
          </a:prstGeom>
        </p:spPr>
      </p:pic>
      <p:sp>
        <p:nvSpPr>
          <p:cNvPr id="27" name="Content Placeholder 2"/>
          <p:cNvSpPr txBox="1">
            <a:spLocks/>
          </p:cNvSpPr>
          <p:nvPr/>
        </p:nvSpPr>
        <p:spPr>
          <a:xfrm>
            <a:off x="5363420" y="1231900"/>
            <a:ext cx="3708105" cy="343154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FCC00"/>
              </a:buClr>
              <a:buSzPct val="125000"/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CC00"/>
              </a:buClr>
              <a:buFont typeface="Arial"/>
              <a:buChar char="–"/>
              <a:defRPr sz="18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»"/>
              <a:defRPr sz="1400" b="0" i="0" kern="1200">
                <a:solidFill>
                  <a:schemeClr val="tx2"/>
                </a:solidFill>
                <a:latin typeface="Avenir Next Regular"/>
                <a:ea typeface="+mn-ea"/>
                <a:cs typeface="Avenir Next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There are community-maintained packages for most app components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How to choose right components for each project, and </a:t>
            </a:r>
            <a:r>
              <a:rPr lang="en-US" i="1" dirty="0" smtClean="0">
                <a:solidFill>
                  <a:srgbClr val="C91C15"/>
                </a:solidFill>
              </a:rPr>
              <a:t>ensure they fit architecture</a:t>
            </a:r>
            <a:r>
              <a:rPr lang="en-US" dirty="0" smtClean="0"/>
              <a:t>?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Which components are right for projects comes down to a litany of requirements: browser support, integration, etc. 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393" y="2869644"/>
            <a:ext cx="561875" cy="56187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0468" y="2806144"/>
            <a:ext cx="761872" cy="67117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9404" y="3286200"/>
            <a:ext cx="839750" cy="83975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0397" y="3393419"/>
            <a:ext cx="642796" cy="645653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593" y="2357888"/>
            <a:ext cx="685800" cy="419956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3468" y="2357204"/>
            <a:ext cx="736471" cy="433812"/>
          </a:xfrm>
          <a:prstGeom prst="rect">
            <a:avLst/>
          </a:prstGeom>
        </p:spPr>
      </p:pic>
      <p:pic>
        <p:nvPicPr>
          <p:cNvPr id="34" name="Picture 6" descr="https://www.crittercism.com/wp-content/uploads/2014/05/backbone-image.png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49975" y="4039072"/>
            <a:ext cx="508666" cy="47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2" descr="http://pascalprecht.github.io/slides/mastering-angularjs-directives/img/angularjs-logo.png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07862" y="4010775"/>
            <a:ext cx="555558" cy="562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1075" y="4039071"/>
            <a:ext cx="535167" cy="508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26871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problems remain – Why Accenture?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18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0" y="869938"/>
            <a:ext cx="8943975" cy="3177019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How do I enable a large work force used to traditional architectures and approaches?</a:t>
            </a:r>
          </a:p>
          <a:p>
            <a:endParaRPr lang="en-US" dirty="0" smtClean="0"/>
          </a:p>
          <a:p>
            <a:r>
              <a:rPr lang="en-US" dirty="0" smtClean="0"/>
              <a:t>How do I make sure my Architects don’t create last year’s solution with this year’s technology?</a:t>
            </a:r>
          </a:p>
          <a:p>
            <a:endParaRPr lang="en-US" dirty="0" smtClean="0"/>
          </a:p>
          <a:p>
            <a:r>
              <a:rPr lang="en-US" dirty="0" smtClean="0"/>
              <a:t>How do I bring all of these innovative technologies together without investing significant R&amp;D?</a:t>
            </a:r>
          </a:p>
          <a:p>
            <a:endParaRPr lang="en-US" dirty="0"/>
          </a:p>
          <a:p>
            <a:r>
              <a:rPr lang="en-US" dirty="0" smtClean="0"/>
              <a:t>How do I ensure the highest quality delivery despite the newness of the technology and architecture to my organization?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86558" y="4064655"/>
            <a:ext cx="773650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i="1" dirty="0" smtClean="0">
                <a:solidFill>
                  <a:srgbClr val="C00000"/>
                </a:solidFill>
                <a:latin typeface="Avenir Next Regular"/>
                <a:cs typeface="Avenir Next Regular"/>
              </a:rPr>
              <a:t>This is where Accenture Open Web Platform can help!</a:t>
            </a:r>
            <a:endParaRPr lang="en-US" sz="2400" i="1" dirty="0">
              <a:solidFill>
                <a:srgbClr val="C00000"/>
              </a:solidFill>
              <a:latin typeface="Avenir Next Regular"/>
              <a:cs typeface="Avenir N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240086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52960" y="1665127"/>
            <a:ext cx="8439549" cy="102155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US" b="1" dirty="0" smtClean="0"/>
              <a:t>Accenture Open Web Platform</a:t>
            </a:r>
            <a:endParaRPr lang="en-US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39323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3200" dirty="0" smtClean="0"/>
              <a:t>The Problem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90399" y="1358871"/>
            <a:ext cx="3134959" cy="2711642"/>
          </a:xfrm>
        </p:spPr>
        <p:txBody>
          <a:bodyPr anchor="ctr">
            <a:noAutofit/>
          </a:bodyPr>
          <a:lstStyle/>
          <a:p>
            <a:pPr marL="0" indent="0" algn="ctr">
              <a:buNone/>
            </a:pPr>
            <a:r>
              <a:rPr lang="en-US" dirty="0" smtClean="0">
                <a:latin typeface="Avenir Light"/>
                <a:cs typeface="Avenir Light"/>
              </a:rPr>
              <a:t>“It takes too long for us to build anything”</a:t>
            </a:r>
          </a:p>
          <a:p>
            <a:pPr marL="0" indent="0" algn="ctr">
              <a:buNone/>
            </a:pPr>
            <a:endParaRPr lang="en-US" dirty="0" smtClean="0">
              <a:latin typeface="Avenir Light"/>
              <a:cs typeface="Avenir Light"/>
            </a:endParaRPr>
          </a:p>
          <a:p>
            <a:pPr marL="0" indent="0" algn="ctr">
              <a:buNone/>
            </a:pPr>
            <a:endParaRPr lang="en-US" dirty="0" smtClean="0">
              <a:latin typeface="Avenir Light"/>
              <a:cs typeface="Avenir Light"/>
            </a:endParaRPr>
          </a:p>
          <a:p>
            <a:pPr marL="0" indent="0" algn="ctr">
              <a:buNone/>
            </a:pPr>
            <a:r>
              <a:rPr lang="en-US" dirty="0" smtClean="0">
                <a:latin typeface="Avenir Light"/>
                <a:cs typeface="Avenir Light"/>
              </a:rPr>
              <a:t>“Our brand is fragmented across channels”</a:t>
            </a:r>
          </a:p>
          <a:p>
            <a:pPr marL="0" indent="0" algn="ctr">
              <a:buNone/>
            </a:pPr>
            <a:endParaRPr lang="en-US" dirty="0" smtClean="0">
              <a:latin typeface="Avenir Light"/>
              <a:cs typeface="Avenir Ligh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661218" y="4563573"/>
            <a:ext cx="31940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i="1" dirty="0" smtClean="0">
                <a:solidFill>
                  <a:srgbClr val="C91C15"/>
                </a:solidFill>
                <a:latin typeface="Helvetica Light"/>
                <a:cs typeface="Helvetica Light"/>
              </a:rPr>
              <a:t>Sound Familiar???</a:t>
            </a:r>
            <a:endParaRPr lang="en-US" sz="2800" i="1" dirty="0">
              <a:solidFill>
                <a:srgbClr val="C91C15"/>
              </a:solidFill>
              <a:latin typeface="Helvetica Light"/>
              <a:cs typeface="Helvetica Light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816004" y="1014576"/>
            <a:ext cx="3437194" cy="3055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lang="en-US" sz="24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lang="en-US" sz="20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lang="en-US" sz="18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lang="en-US" sz="16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lang="en-US" sz="16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2000" dirty="0" smtClean="0">
                <a:latin typeface="Avenir Light"/>
                <a:cs typeface="Avenir Light"/>
              </a:rPr>
              <a:t>“Our application is ‘slow’, ‘clunky’, and ‘old’”</a:t>
            </a:r>
          </a:p>
          <a:p>
            <a:pPr marL="0" indent="0" algn="ctr">
              <a:buFont typeface="Arial"/>
              <a:buNone/>
            </a:pPr>
            <a:endParaRPr lang="en-US" sz="2000" dirty="0">
              <a:latin typeface="Avenir Light"/>
              <a:cs typeface="Avenir Light"/>
            </a:endParaRPr>
          </a:p>
          <a:p>
            <a:pPr marL="0" indent="0" algn="ctr">
              <a:buFont typeface="Arial"/>
              <a:buNone/>
            </a:pPr>
            <a:endParaRPr lang="en-US" sz="2000" dirty="0" smtClean="0">
              <a:latin typeface="Avenir Light"/>
              <a:cs typeface="Avenir Light"/>
            </a:endParaRPr>
          </a:p>
          <a:p>
            <a:pPr marL="0" indent="0" algn="ctr">
              <a:buFont typeface="Arial"/>
              <a:buNone/>
            </a:pPr>
            <a:r>
              <a:rPr lang="en-US" sz="2000" dirty="0" smtClean="0">
                <a:latin typeface="Avenir Light"/>
                <a:cs typeface="Avenir Light"/>
              </a:rPr>
              <a:t>“Designers are constrained by technology”</a:t>
            </a:r>
            <a:endParaRPr lang="en-US" sz="2000" dirty="0">
              <a:latin typeface="Avenir Light"/>
              <a:cs typeface="Avenir Light"/>
            </a:endParaRPr>
          </a:p>
        </p:txBody>
      </p:sp>
    </p:spTree>
    <p:extLst>
      <p:ext uri="{BB962C8B-B14F-4D97-AF65-F5344CB8AC3E}">
        <p14:creationId xmlns:p14="http://schemas.microsoft.com/office/powerpoint/2010/main" val="8106978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latin typeface="Avenir Book"/>
                <a:cs typeface="Avenir Book"/>
              </a:rPr>
              <a:t>© 2014 Accenture All Rights Reserv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F01A0F-09BA-8F4E-BAF1-40291A86EF31}" type="slidenum">
              <a:rPr lang="en-US" smtClean="0"/>
              <a:t>20</a:t>
            </a:fld>
            <a:endParaRPr lang="en-US"/>
          </a:p>
        </p:txBody>
      </p:sp>
      <p:pic>
        <p:nvPicPr>
          <p:cNvPr id="35" name="Picture 34" descr="AOWP-Logo-v3.png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4501" y="1034605"/>
            <a:ext cx="2234260" cy="1396413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5760173" y="2350999"/>
            <a:ext cx="3281063" cy="1477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"/>
                <a:cs typeface="Helvetica Neue"/>
              </a:rPr>
              <a:t>AOWP Core Capabilities:</a:t>
            </a:r>
          </a:p>
          <a:p>
            <a:pPr algn="ctr"/>
            <a:endParaRPr lang="en-US" sz="1200" b="1" u="sng" dirty="0">
              <a:solidFill>
                <a:schemeClr val="tx1">
                  <a:lumMod val="85000"/>
                  <a:lumOff val="15000"/>
                </a:schemeClr>
              </a:solidFill>
              <a:latin typeface="Helvetica Neue"/>
              <a:cs typeface="Helvetica Neue"/>
            </a:endParaRPr>
          </a:p>
          <a:p>
            <a:pPr marL="285750" indent="-285750">
              <a:buClr>
                <a:srgbClr val="CC0000"/>
              </a:buClr>
              <a:buFont typeface="Arial"/>
              <a:buChar char="•"/>
            </a:pPr>
            <a:r>
              <a:rPr lang="en-US" sz="1100" b="1" dirty="0" smtClean="0">
                <a:solidFill>
                  <a:srgbClr val="CC0000"/>
                </a:solidFill>
                <a:latin typeface="Helvetica Neue"/>
                <a:cs typeface="Helvetica Neue"/>
              </a:rPr>
              <a:t>Architect:</a:t>
            </a:r>
            <a:r>
              <a:rPr lang="en-US" sz="1100" dirty="0" smtClean="0">
                <a:solidFill>
                  <a:srgbClr val="CC0000"/>
                </a:solidFill>
                <a:latin typeface="Helvetica Neue UltraLight"/>
                <a:cs typeface="Helvetica Neue UltraLight"/>
              </a:rPr>
              <a:t>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Creating UI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reference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architectures for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clients</a:t>
            </a:r>
            <a:endParaRPr lang="en-US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Helvetica Neue"/>
              <a:cs typeface="Helvetica Neue"/>
            </a:endParaRPr>
          </a:p>
          <a:p>
            <a:pPr marL="285750" indent="-285750">
              <a:buClr>
                <a:srgbClr val="CC0000"/>
              </a:buClr>
              <a:buFont typeface="Arial"/>
              <a:buChar char="•"/>
            </a:pPr>
            <a:r>
              <a:rPr lang="en-US" sz="1100" b="1" dirty="0" smtClean="0">
                <a:solidFill>
                  <a:srgbClr val="CC0000"/>
                </a:solidFill>
                <a:latin typeface="Helvetica Neue"/>
                <a:cs typeface="Helvetica Neue"/>
              </a:rPr>
              <a:t>Build: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Crafting Web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applications using best of breed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components, tools,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and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practices</a:t>
            </a:r>
          </a:p>
          <a:p>
            <a:pPr marL="285750" indent="-285750">
              <a:buClr>
                <a:srgbClr val="CC0000"/>
              </a:buClr>
              <a:buFont typeface="Arial"/>
              <a:buChar char="•"/>
            </a:pPr>
            <a:r>
              <a:rPr lang="en-US" sz="1100" b="1" dirty="0" smtClean="0">
                <a:solidFill>
                  <a:srgbClr val="CC0000"/>
                </a:solidFill>
                <a:latin typeface="Helvetica Neue"/>
                <a:cs typeface="Helvetica Neue"/>
              </a:rPr>
              <a:t>Deliver: 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rPr>
              <a:t>DevOps and automation tools and processes to enable continuous delivery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0" y="3975454"/>
            <a:ext cx="914400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smtClean="0">
                <a:solidFill>
                  <a:srgbClr val="CC0000"/>
                </a:solidFill>
                <a:latin typeface="Avenir Book"/>
                <a:cs typeface="Avenir Book"/>
              </a:rPr>
              <a:t>Using experience </a:t>
            </a:r>
            <a:r>
              <a:rPr lang="en-US" sz="1400" i="1" dirty="0">
                <a:solidFill>
                  <a:srgbClr val="CC0000"/>
                </a:solidFill>
                <a:latin typeface="Avenir Book"/>
                <a:cs typeface="Avenir Book"/>
              </a:rPr>
              <a:t>distilled from hundreds of </a:t>
            </a:r>
            <a:r>
              <a:rPr lang="en-US" sz="1400" i="1" dirty="0" smtClean="0">
                <a:solidFill>
                  <a:srgbClr val="CC0000"/>
                </a:solidFill>
                <a:latin typeface="Avenir Book"/>
                <a:cs typeface="Avenir Book"/>
              </a:rPr>
              <a:t>projects, we’ve pre-integrated components that fit a variety of application patterns; so delivery  can focus on </a:t>
            </a:r>
            <a:r>
              <a:rPr lang="en-US" sz="1400" b="1" i="1" dirty="0" smtClean="0">
                <a:solidFill>
                  <a:srgbClr val="CC0000"/>
                </a:solidFill>
                <a:latin typeface="Avenir Book"/>
                <a:cs typeface="Avenir Book"/>
              </a:rPr>
              <a:t>creating experiences </a:t>
            </a:r>
            <a:r>
              <a:rPr lang="en-US" sz="1400" i="1" dirty="0" smtClean="0">
                <a:solidFill>
                  <a:srgbClr val="CC0000"/>
                </a:solidFill>
                <a:latin typeface="Avenir Book"/>
                <a:cs typeface="Avenir Book"/>
              </a:rPr>
              <a:t>and </a:t>
            </a:r>
            <a:r>
              <a:rPr lang="en-US" sz="1400" b="1" i="1" dirty="0" smtClean="0">
                <a:solidFill>
                  <a:srgbClr val="CC0000"/>
                </a:solidFill>
                <a:latin typeface="Avenir Book"/>
                <a:cs typeface="Avenir Book"/>
              </a:rPr>
              <a:t>delivering a working application.</a:t>
            </a:r>
            <a:endParaRPr lang="en-US" sz="1400" i="1" dirty="0">
              <a:solidFill>
                <a:srgbClr val="CC0000"/>
              </a:solidFill>
              <a:latin typeface="Avenir Book"/>
              <a:cs typeface="Avenir Book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91127" y="96597"/>
            <a:ext cx="8787769" cy="7386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CC0000"/>
                </a:solidFill>
                <a:latin typeface="Avenir Book"/>
                <a:cs typeface="Avenir Book"/>
              </a:rPr>
              <a:t>The Accenture Open Web Platform brings together best of breed open source technology, </a:t>
            </a:r>
            <a:r>
              <a:rPr lang="en-US" sz="1400" dirty="0" smtClean="0">
                <a:solidFill>
                  <a:srgbClr val="CC0000"/>
                </a:solidFill>
                <a:latin typeface="Avenir Book"/>
                <a:cs typeface="Avenir Book"/>
              </a:rPr>
              <a:t>lightweight architecture to </a:t>
            </a:r>
            <a:r>
              <a:rPr lang="en-US" sz="1400" dirty="0">
                <a:solidFill>
                  <a:srgbClr val="CC0000"/>
                </a:solidFill>
                <a:latin typeface="Avenir Book"/>
                <a:cs typeface="Avenir Book"/>
              </a:rPr>
              <a:t>enable enterprises to build cross-channel, </a:t>
            </a:r>
            <a:r>
              <a:rPr lang="en-US" sz="1400" dirty="0" smtClean="0">
                <a:solidFill>
                  <a:srgbClr val="CC0000"/>
                </a:solidFill>
                <a:latin typeface="Avenir Book"/>
                <a:cs typeface="Avenir Book"/>
              </a:rPr>
              <a:t>user-</a:t>
            </a:r>
            <a:r>
              <a:rPr lang="en-US" sz="1400" dirty="0">
                <a:solidFill>
                  <a:srgbClr val="CC0000"/>
                </a:solidFill>
                <a:latin typeface="Avenir Book"/>
                <a:cs typeface="Avenir Book"/>
              </a:rPr>
              <a:t>focused applications </a:t>
            </a:r>
            <a:r>
              <a:rPr lang="en-US" sz="1400" dirty="0" smtClean="0">
                <a:solidFill>
                  <a:srgbClr val="CC0000"/>
                </a:solidFill>
                <a:latin typeface="Avenir Book"/>
                <a:cs typeface="Avenir Book"/>
              </a:rPr>
              <a:t>that transcend the one-page-at-a-time paradigm.</a:t>
            </a:r>
            <a:r>
              <a:rPr lang="en-US" sz="1400" dirty="0">
                <a:solidFill>
                  <a:srgbClr val="800000"/>
                </a:solidFill>
                <a:latin typeface="Avenir Book"/>
                <a:cs typeface="Avenir Book"/>
              </a:rPr>
              <a:t> 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2285349" y="1081889"/>
            <a:ext cx="3909497" cy="2768605"/>
            <a:chOff x="2326593" y="2012013"/>
            <a:chExt cx="3909497" cy="2768605"/>
          </a:xfrm>
        </p:grpSpPr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79666" y="2699291"/>
              <a:ext cx="869925" cy="509722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90901" y="3249695"/>
              <a:ext cx="236651" cy="293241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15374" y="3569741"/>
              <a:ext cx="229085" cy="313162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55617" y="2998528"/>
              <a:ext cx="335284" cy="335284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79666" y="3288105"/>
              <a:ext cx="863155" cy="150399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8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51029" y="2976631"/>
              <a:ext cx="446773" cy="387044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0828" y="3354893"/>
              <a:ext cx="370073" cy="370073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1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11289" y="4031600"/>
              <a:ext cx="244067" cy="244067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1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2001" y="3602603"/>
              <a:ext cx="376003" cy="376003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98427" y="2794000"/>
              <a:ext cx="477044" cy="299237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24247" y="2374431"/>
              <a:ext cx="374084" cy="374084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6676" y="3148485"/>
              <a:ext cx="498642" cy="27924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11289" y="3679069"/>
              <a:ext cx="294302" cy="294302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8319" y="3567280"/>
              <a:ext cx="361272" cy="404624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 rot="1290155">
              <a:off x="2326593" y="2425143"/>
              <a:ext cx="38730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262626"/>
                  </a:solidFill>
                  <a:latin typeface="Helvetica Neue UltraLight"/>
                  <a:cs typeface="Helvetica Neue UltraLight"/>
                </a:rPr>
                <a:t>Nex-gen UI </a:t>
              </a:r>
              <a:r>
                <a:rPr lang="en-US" sz="1200" dirty="0" smtClean="0">
                  <a:solidFill>
                    <a:srgbClr val="262626"/>
                  </a:solidFill>
                  <a:latin typeface="Helvetica Neue UltraLight"/>
                  <a:cs typeface="Helvetica Neue UltraLight"/>
                </a:rPr>
                <a:t>Reference Architecture and Applications</a:t>
              </a:r>
              <a:endParaRPr lang="en-US" sz="1200" dirty="0">
                <a:solidFill>
                  <a:srgbClr val="262626"/>
                </a:solidFill>
                <a:latin typeface="Helvetica Neue UltraLight"/>
                <a:cs typeface="Helvetica Neue UltraLight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 rot="20341615">
              <a:off x="2349433" y="4044847"/>
              <a:ext cx="38866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Helvetica Neue UltraLight"/>
                  <a:cs typeface="Helvetica Neue UltraLight"/>
                </a:rPr>
                <a:t>DevOps, Continuous Delivery, &amp; Automation processes for UI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Helvetica Neue UltraLight"/>
                <a:cs typeface="Helvetica Neue UltraLight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4335" y="3476853"/>
              <a:ext cx="331282" cy="331282"/>
            </a:xfrm>
            <a:prstGeom prst="rect">
              <a:avLst/>
            </a:prstGeom>
          </p:spPr>
        </p:pic>
        <p:sp>
          <p:nvSpPr>
            <p:cNvPr id="57" name="Isosceles Triangle 56"/>
            <p:cNvSpPr/>
            <p:nvPr/>
          </p:nvSpPr>
          <p:spPr>
            <a:xfrm rot="5400000">
              <a:off x="2857155" y="1622430"/>
              <a:ext cx="2768605" cy="3547772"/>
            </a:xfrm>
            <a:prstGeom prst="triangle">
              <a:avLst/>
            </a:prstGeom>
            <a:gradFill flip="none" rotWithShape="1">
              <a:gsLst>
                <a:gs pos="0">
                  <a:schemeClr val="bg2">
                    <a:alpha val="56000"/>
                  </a:schemeClr>
                </a:gs>
                <a:gs pos="68000">
                  <a:srgbClr val="800000">
                    <a:alpha val="56000"/>
                  </a:srgbClr>
                </a:gs>
                <a:gs pos="95000">
                  <a:schemeClr val="tx1">
                    <a:lumMod val="85000"/>
                    <a:lumOff val="15000"/>
                    <a:alpha val="56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58" name="Straight Connector 57"/>
            <p:cNvCxnSpPr/>
            <p:nvPr/>
          </p:nvCxnSpPr>
          <p:spPr>
            <a:xfrm>
              <a:off x="3275471" y="2374431"/>
              <a:ext cx="0" cy="1994369"/>
            </a:xfrm>
            <a:prstGeom prst="line">
              <a:avLst/>
            </a:prstGeom>
            <a:ln w="381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4351029" y="2794000"/>
              <a:ext cx="0" cy="1141855"/>
            </a:xfrm>
            <a:prstGeom prst="line">
              <a:avLst/>
            </a:prstGeom>
            <a:ln w="381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15374" y="4053177"/>
              <a:ext cx="236717" cy="315623"/>
            </a:xfrm>
            <a:prstGeom prst="rect">
              <a:avLst/>
            </a:prstGeom>
          </p:spPr>
        </p:pic>
      </p:grpSp>
      <p:pic>
        <p:nvPicPr>
          <p:cNvPr id="61" name="Picture 60"/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1127" y="1484789"/>
            <a:ext cx="2047181" cy="2047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6934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6224698" y="738646"/>
            <a:ext cx="2187513" cy="12721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1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16335" y="2065896"/>
            <a:ext cx="2725864" cy="250769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 smtClean="0"/>
              <a:t>Complete set of </a:t>
            </a:r>
            <a:r>
              <a:rPr lang="en-US" dirty="0" smtClean="0">
                <a:solidFill>
                  <a:srgbClr val="C91C15"/>
                </a:solidFill>
                <a:latin typeface="Avenir Black"/>
                <a:cs typeface="Avenir Black"/>
              </a:rPr>
              <a:t>reference architectures </a:t>
            </a:r>
            <a:r>
              <a:rPr lang="en-US" dirty="0" smtClean="0"/>
              <a:t>to guide application development down predictable paths and according to lightweight architecture principles. </a:t>
            </a:r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3236690" y="2065896"/>
            <a:ext cx="2725864" cy="250769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8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»"/>
              <a:defRPr sz="1400" b="0" i="0" kern="1200">
                <a:solidFill>
                  <a:schemeClr val="tx2"/>
                </a:solidFill>
                <a:latin typeface="Avenir Book"/>
                <a:ea typeface="+mn-ea"/>
                <a:cs typeface="Avenir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dirty="0" smtClean="0"/>
              <a:t>Best of breed </a:t>
            </a:r>
            <a:r>
              <a:rPr lang="en-US" dirty="0" smtClean="0">
                <a:solidFill>
                  <a:srgbClr val="C91C15"/>
                </a:solidFill>
                <a:latin typeface="Avenir Black"/>
                <a:cs typeface="Avenir Black"/>
              </a:rPr>
              <a:t>components</a:t>
            </a:r>
            <a:r>
              <a:rPr lang="en-US" dirty="0" smtClean="0"/>
              <a:t> for each application style selected trough a rigorous process including performance, suitability for  development at scale, and other factors.</a:t>
            </a:r>
            <a:endParaRPr lang="en-US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157045" y="2065896"/>
            <a:ext cx="2725864" cy="250769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8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»"/>
              <a:defRPr sz="1400" b="0" i="0" kern="1200">
                <a:solidFill>
                  <a:schemeClr val="tx2"/>
                </a:solidFill>
                <a:latin typeface="Avenir Book"/>
                <a:ea typeface="+mn-ea"/>
                <a:cs typeface="Avenir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dirty="0" smtClean="0">
                <a:solidFill>
                  <a:srgbClr val="C91C15"/>
                </a:solidFill>
                <a:latin typeface="Avenir Black"/>
                <a:cs typeface="Avenir Black"/>
              </a:rPr>
              <a:t>Accelerators</a:t>
            </a:r>
            <a:r>
              <a:rPr lang="en-US" dirty="0" smtClean="0"/>
              <a:t> and </a:t>
            </a:r>
            <a:r>
              <a:rPr lang="en-US" dirty="0" smtClean="0">
                <a:solidFill>
                  <a:srgbClr val="C91C15"/>
                </a:solidFill>
                <a:latin typeface="Avenir Black"/>
                <a:cs typeface="Avenir Black"/>
              </a:rPr>
              <a:t>building blocks </a:t>
            </a:r>
            <a:r>
              <a:rPr lang="en-US" dirty="0" smtClean="0"/>
              <a:t>that allow the foundation of applications to be assembled quickly, then for application development to proceed according to established best practices.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16335" y="738646"/>
            <a:ext cx="2187513" cy="1272135"/>
            <a:chOff x="316335" y="738646"/>
            <a:chExt cx="2187513" cy="1272135"/>
          </a:xfrm>
        </p:grpSpPr>
        <p:sp>
          <p:nvSpPr>
            <p:cNvPr id="10" name="Rectangle 9"/>
            <p:cNvSpPr/>
            <p:nvPr/>
          </p:nvSpPr>
          <p:spPr>
            <a:xfrm>
              <a:off x="316335" y="738646"/>
              <a:ext cx="2187513" cy="127213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pic>
          <p:nvPicPr>
            <p:cNvPr id="11" name="Picture 10" descr="Screen Shot 2014-10-30 at 12.29.12 AM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342" y="747653"/>
              <a:ext cx="2167128" cy="1247569"/>
            </a:xfrm>
            <a:prstGeom prst="rect">
              <a:avLst/>
            </a:prstGeom>
          </p:spPr>
        </p:pic>
      </p:grpSp>
      <p:pic>
        <p:nvPicPr>
          <p:cNvPr id="29" name="Picture 28"/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7476" y="988173"/>
            <a:ext cx="719489" cy="623301"/>
          </a:xfrm>
          <a:prstGeom prst="rect">
            <a:avLst/>
          </a:prstGeom>
        </p:spPr>
      </p:pic>
      <p:sp>
        <p:nvSpPr>
          <p:cNvPr id="30" name="Right Arrow 29"/>
          <p:cNvSpPr/>
          <p:nvPr/>
        </p:nvSpPr>
        <p:spPr>
          <a:xfrm>
            <a:off x="6946899" y="1113189"/>
            <a:ext cx="204380" cy="321583"/>
          </a:xfrm>
          <a:prstGeom prst="right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7241343" y="979443"/>
            <a:ext cx="1035765" cy="18035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latin typeface="Avenir Book"/>
                <a:cs typeface="Avenir Book"/>
              </a:rPr>
              <a:t>Model</a:t>
            </a:r>
            <a:endParaRPr lang="en-US" sz="1100" dirty="0">
              <a:latin typeface="Avenir Book"/>
              <a:cs typeface="Avenir Book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241343" y="1181590"/>
            <a:ext cx="1035765" cy="18035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latin typeface="Avenir Book"/>
                <a:cs typeface="Avenir Book"/>
              </a:rPr>
              <a:t>Route</a:t>
            </a:r>
            <a:endParaRPr lang="en-US" sz="1100" dirty="0">
              <a:latin typeface="Avenir Book"/>
              <a:cs typeface="Avenir Book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241343" y="1383738"/>
            <a:ext cx="1035765" cy="18035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latin typeface="Avenir Book"/>
                <a:cs typeface="Avenir Book"/>
              </a:rPr>
              <a:t>View</a:t>
            </a:r>
            <a:endParaRPr lang="en-US" sz="1100" dirty="0">
              <a:latin typeface="Avenir Book"/>
              <a:cs typeface="Avenir Book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6341682" y="1660752"/>
            <a:ext cx="878082" cy="2146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latin typeface="Avenir Book"/>
                <a:cs typeface="Avenir Book"/>
              </a:rPr>
              <a:t>Logger</a:t>
            </a:r>
            <a:endParaRPr lang="en-US" sz="1100" dirty="0">
              <a:latin typeface="Avenir Book"/>
              <a:cs typeface="Avenir Book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435893" y="1665726"/>
            <a:ext cx="841215" cy="2146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latin typeface="Avenir Book"/>
                <a:cs typeface="Avenir Book"/>
              </a:rPr>
              <a:t>Widgets</a:t>
            </a:r>
            <a:endParaRPr lang="en-US" sz="1100" dirty="0">
              <a:latin typeface="Avenir Book"/>
              <a:cs typeface="Avenir Book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6286642" y="931818"/>
            <a:ext cx="2044507" cy="679655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0" name="Group 49"/>
          <p:cNvGrpSpPr/>
          <p:nvPr/>
        </p:nvGrpSpPr>
        <p:grpSpPr>
          <a:xfrm>
            <a:off x="3303426" y="723087"/>
            <a:ext cx="2239315" cy="1282864"/>
            <a:chOff x="3277525" y="723087"/>
            <a:chExt cx="2239315" cy="1282864"/>
          </a:xfrm>
        </p:grpSpPr>
        <p:grpSp>
          <p:nvGrpSpPr>
            <p:cNvPr id="48" name="Group 47"/>
            <p:cNvGrpSpPr/>
            <p:nvPr/>
          </p:nvGrpSpPr>
          <p:grpSpPr>
            <a:xfrm>
              <a:off x="3277525" y="723087"/>
              <a:ext cx="2239315" cy="1282864"/>
              <a:chOff x="3277525" y="723087"/>
              <a:chExt cx="2239315" cy="1282864"/>
            </a:xfrm>
          </p:grpSpPr>
          <p:grpSp>
            <p:nvGrpSpPr>
              <p:cNvPr id="28" name="Group 27"/>
              <p:cNvGrpSpPr/>
              <p:nvPr/>
            </p:nvGrpSpPr>
            <p:grpSpPr>
              <a:xfrm>
                <a:off x="3277525" y="723087"/>
                <a:ext cx="2239315" cy="1272135"/>
                <a:chOff x="4181328" y="766738"/>
                <a:chExt cx="2239315" cy="1272135"/>
              </a:xfrm>
            </p:grpSpPr>
            <p:sp>
              <p:nvSpPr>
                <p:cNvPr id="12" name="Rectangle 11"/>
                <p:cNvSpPr/>
                <p:nvPr/>
              </p:nvSpPr>
              <p:spPr>
                <a:xfrm>
                  <a:off x="4233130" y="766738"/>
                  <a:ext cx="2187513" cy="1272135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>
                    <a:solidFill>
                      <a:schemeClr val="bg1"/>
                    </a:solidFill>
                    <a:latin typeface="Avenir Book"/>
                    <a:cs typeface="Avenir Book"/>
                  </a:endParaRPr>
                </a:p>
              </p:txBody>
            </p:sp>
            <p:grpSp>
              <p:nvGrpSpPr>
                <p:cNvPr id="27" name="Group 26"/>
                <p:cNvGrpSpPr/>
                <p:nvPr/>
              </p:nvGrpSpPr>
              <p:grpSpPr>
                <a:xfrm>
                  <a:off x="4181328" y="793363"/>
                  <a:ext cx="2113921" cy="1201603"/>
                  <a:chOff x="4541183" y="832462"/>
                  <a:chExt cx="2113921" cy="1201603"/>
                </a:xfrm>
              </p:grpSpPr>
              <p:pic>
                <p:nvPicPr>
                  <p:cNvPr id="14" name="Picture 13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grayscl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76008" y="832462"/>
                    <a:ext cx="661615" cy="631842"/>
                  </a:xfrm>
                  <a:prstGeom prst="rect">
                    <a:avLst/>
                  </a:prstGeom>
                </p:spPr>
              </p:pic>
              <p:grpSp>
                <p:nvGrpSpPr>
                  <p:cNvPr id="26" name="Group 25"/>
                  <p:cNvGrpSpPr/>
                  <p:nvPr/>
                </p:nvGrpSpPr>
                <p:grpSpPr>
                  <a:xfrm>
                    <a:off x="4541183" y="862456"/>
                    <a:ext cx="2113921" cy="1171609"/>
                    <a:chOff x="3496137" y="806341"/>
                    <a:chExt cx="2113921" cy="1171609"/>
                  </a:xfrm>
                </p:grpSpPr>
                <p:grpSp>
                  <p:nvGrpSpPr>
                    <p:cNvPr id="25" name="Group 24"/>
                    <p:cNvGrpSpPr/>
                    <p:nvPr/>
                  </p:nvGrpSpPr>
                  <p:grpSpPr>
                    <a:xfrm>
                      <a:off x="3496137" y="853449"/>
                      <a:ext cx="2050872" cy="1124501"/>
                      <a:chOff x="3496137" y="853449"/>
                      <a:chExt cx="2050872" cy="1124501"/>
                    </a:xfrm>
                  </p:grpSpPr>
                  <p:pic>
                    <p:nvPicPr>
                      <p:cNvPr id="20" name="Picture 19"/>
                      <p:cNvPicPr>
                        <a:picLocks noChangeAspect="1"/>
                      </p:cNvPicPr>
                      <p:nvPr/>
                    </p:nvPicPr>
                    <p:blipFill>
                      <a:blip r:embed="rId7" cstate="screen">
                        <a:alphaModFix amt="20000"/>
                        <a:extLst>
                          <a:ext uri="{BEBA8EAE-BF5A-486C-A8C5-ECC9F3942E4B}">
                            <a14:imgProps xmlns:a14="http://schemas.microsoft.com/office/drawing/2010/main">
                              <a14:imgLayer r:embed="rId8">
                                <a14:imgEffect>
                                  <a14:saturation sat="0"/>
                                </a14:imgEffect>
                              </a14:imgLayer>
                            </a14:imgProps>
                          </a:ex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3523158" y="853449"/>
                        <a:ext cx="2023851" cy="1011926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15" name="Picture 14"/>
                      <p:cNvPicPr>
                        <a:picLocks noChangeAspect="1"/>
                      </p:cNvPicPr>
                      <p:nvPr/>
                    </p:nvPicPr>
                    <p:blipFill>
                      <a:blip r:embed="rId9" cstate="screen">
                        <a:grayscl/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3496137" y="1413851"/>
                        <a:ext cx="564099" cy="564099"/>
                      </a:xfrm>
                      <a:prstGeom prst="rect">
                        <a:avLst/>
                      </a:prstGeom>
                    </p:spPr>
                  </p:pic>
                </p:grpSp>
                <p:pic>
                  <p:nvPicPr>
                    <p:cNvPr id="16" name="Picture 15"/>
                    <p:cNvPicPr>
                      <a:picLocks noChangeAspect="1"/>
                    </p:cNvPicPr>
                    <p:nvPr/>
                  </p:nvPicPr>
                  <p:blipFill>
                    <a:blip r:embed="rId10" cstate="email">
                      <a:alphaModFix/>
                      <a:grayscl/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229235" y="958454"/>
                      <a:ext cx="353017" cy="35301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" name="Picture 16"/>
                    <p:cNvPicPr>
                      <a:picLocks noChangeAspect="1"/>
                    </p:cNvPicPr>
                    <p:nvPr/>
                  </p:nvPicPr>
                  <p:blipFill>
                    <a:blip r:embed="rId11" cstate="email">
                      <a:alphaModFix/>
                      <a:grayscl/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157752" y="1428666"/>
                      <a:ext cx="353017" cy="353017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" name="Picture 17"/>
                    <p:cNvPicPr>
                      <a:picLocks noChangeAspect="1"/>
                    </p:cNvPicPr>
                    <p:nvPr/>
                  </p:nvPicPr>
                  <p:blipFill>
                    <a:blip r:embed="rId12" cstate="screen">
                      <a:grayscl/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704096" y="853449"/>
                      <a:ext cx="379048" cy="4730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9" name="Picture 18"/>
                    <p:cNvPicPr>
                      <a:picLocks noChangeAspect="1"/>
                    </p:cNvPicPr>
                    <p:nvPr/>
                  </p:nvPicPr>
                  <p:blipFill>
                    <a:blip r:embed="rId13" cstate="screen">
                      <a:grayscl/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641696" y="1495307"/>
                      <a:ext cx="441448" cy="4434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1" name="Picture 20"/>
                    <p:cNvPicPr>
                      <a:picLocks noChangeAspect="1"/>
                    </p:cNvPicPr>
                    <p:nvPr/>
                  </p:nvPicPr>
                  <p:blipFill>
                    <a:blip r:embed="rId14" cstate="screen">
                      <a:grayscl/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251785" y="806341"/>
                      <a:ext cx="358273" cy="358273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5" cstate="screen"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944366" y="1504144"/>
                <a:ext cx="501807" cy="501807"/>
              </a:xfrm>
              <a:prstGeom prst="rect">
                <a:avLst/>
              </a:prstGeom>
            </p:spPr>
          </p:pic>
        </p:grp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80912" y="1153406"/>
              <a:ext cx="434017" cy="4106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873745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999" y="91044"/>
            <a:ext cx="8944526" cy="467756"/>
          </a:xfrm>
        </p:spPr>
        <p:txBody>
          <a:bodyPr/>
          <a:lstStyle/>
          <a:p>
            <a:r>
              <a:rPr lang="en-US" dirty="0" smtClean="0"/>
              <a:t>Sample Client/API Reference Architecture with Angular.j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2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33864" y="562266"/>
            <a:ext cx="8171056" cy="1710580"/>
          </a:xfrm>
          <a:prstGeom prst="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t"/>
          <a:lstStyle/>
          <a:p>
            <a:endParaRPr lang="en-US" sz="20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398535" y="749104"/>
            <a:ext cx="5715000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View (HTML)</a:t>
            </a:r>
          </a:p>
        </p:txBody>
      </p:sp>
      <p:sp>
        <p:nvSpPr>
          <p:cNvPr id="8" name="Rectangle 7"/>
          <p:cNvSpPr/>
          <p:nvPr/>
        </p:nvSpPr>
        <p:spPr>
          <a:xfrm>
            <a:off x="1398029" y="1204993"/>
            <a:ext cx="2743200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ng Controller</a:t>
            </a:r>
          </a:p>
        </p:txBody>
      </p:sp>
      <p:sp>
        <p:nvSpPr>
          <p:cNvPr id="9" name="Rectangle 8"/>
          <p:cNvSpPr/>
          <p:nvPr/>
        </p:nvSpPr>
        <p:spPr>
          <a:xfrm>
            <a:off x="4369577" y="1427880"/>
            <a:ext cx="2743200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ng App Servic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4369577" y="1194089"/>
            <a:ext cx="2743200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Model (JSON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398030" y="1660944"/>
            <a:ext cx="5714747" cy="182880"/>
          </a:xfrm>
          <a:prstGeom prst="rect">
            <a:avLst/>
          </a:prstGeom>
          <a:solidFill>
            <a:srgbClr val="0022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200" dirty="0" smtClean="0">
                <a:latin typeface="Avenir Next Regular"/>
                <a:cs typeface="Avenir Next Regular"/>
              </a:rPr>
              <a:t>RA Blocks</a:t>
            </a:r>
            <a:endParaRPr lang="en-US" sz="1200" dirty="0">
              <a:latin typeface="Avenir Next Regular"/>
              <a:cs typeface="Avenir Next Regular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34133" y="2509804"/>
            <a:ext cx="8198363" cy="1645920"/>
          </a:xfrm>
          <a:prstGeom prst="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t"/>
          <a:lstStyle/>
          <a:p>
            <a:endParaRPr lang="en-US" sz="20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376571" y="2739796"/>
            <a:ext cx="5747371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API Façad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65939" y="3195364"/>
            <a:ext cx="2755323" cy="182880"/>
          </a:xfrm>
          <a:prstGeom prst="rect">
            <a:avLst/>
          </a:prstGeom>
          <a:solidFill>
            <a:srgbClr val="0022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200" dirty="0" smtClean="0">
                <a:latin typeface="Avenir Next Regular"/>
                <a:cs typeface="Avenir Next Regular"/>
              </a:rPr>
              <a:t>Common API</a:t>
            </a:r>
            <a:endParaRPr lang="en-US" sz="1200" dirty="0">
              <a:latin typeface="Avenir Next Regular"/>
              <a:cs typeface="Avenir Next Regular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365939" y="3631898"/>
            <a:ext cx="5734953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Mediation Servic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398725" y="1889894"/>
            <a:ext cx="5714052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AngularJS Framework  (ng)</a:t>
            </a:r>
          </a:p>
        </p:txBody>
      </p:sp>
      <p:sp>
        <p:nvSpPr>
          <p:cNvPr id="17" name="TextBox 16"/>
          <p:cNvSpPr txBox="1"/>
          <p:nvPr/>
        </p:nvSpPr>
        <p:spPr>
          <a:xfrm rot="16200000">
            <a:off x="-319474" y="1322618"/>
            <a:ext cx="1768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"/>
                <a:cs typeface="Calibri"/>
              </a:rPr>
              <a:t>Client</a:t>
            </a:r>
            <a:endParaRPr lang="en-US" sz="1600" dirty="0">
              <a:latin typeface="Calibri"/>
              <a:cs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 rot="16200000">
            <a:off x="-499229" y="3849969"/>
            <a:ext cx="2082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"/>
                <a:cs typeface="Calibri"/>
              </a:rPr>
              <a:t>Web API</a:t>
            </a:r>
            <a:endParaRPr lang="en-US" sz="1600" dirty="0">
              <a:latin typeface="Calibri"/>
              <a:cs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369577" y="963414"/>
            <a:ext cx="2743200" cy="182880"/>
          </a:xfrm>
          <a:prstGeom prst="rect">
            <a:avLst/>
          </a:prstGeom>
          <a:solidFill>
            <a:srgbClr val="339966"/>
          </a:solidFill>
          <a:ln w="25400">
            <a:solidFill>
              <a:srgbClr val="CC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200" dirty="0" smtClean="0">
                <a:latin typeface="Avenir Next Regular"/>
                <a:cs typeface="Avenir Next Regular"/>
              </a:rPr>
              <a:t>Widgets</a:t>
            </a:r>
            <a:endParaRPr lang="en-US" sz="1200" dirty="0">
              <a:latin typeface="Avenir Next Regular"/>
              <a:cs typeface="Avenir Next Regular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00810" y="2621319"/>
            <a:ext cx="6371299" cy="1261171"/>
          </a:xfrm>
          <a:prstGeom prst="rect">
            <a:avLst/>
          </a:prstGeom>
          <a:noFill/>
          <a:ln>
            <a:solidFill>
              <a:schemeClr val="accent1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91432" tIns="45715" rIns="91432" bIns="45715" rtlCol="0" anchor="t"/>
          <a:lstStyle/>
          <a:p>
            <a:pPr algn="ctr"/>
            <a:r>
              <a:rPr lang="en-US" sz="1400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Node.js &amp; JavaScript V8</a:t>
            </a:r>
            <a:endParaRPr lang="en-US" sz="1400" dirty="0">
              <a:solidFill>
                <a:schemeClr val="accent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35287" y="3199586"/>
            <a:ext cx="2765873" cy="182880"/>
          </a:xfrm>
          <a:prstGeom prst="rect">
            <a:avLst/>
          </a:prstGeom>
          <a:solidFill>
            <a:srgbClr val="0022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200" dirty="0" smtClean="0">
                <a:latin typeface="Avenir Next Regular"/>
                <a:cs typeface="Avenir Next Regular"/>
              </a:rPr>
              <a:t>RA Blocks</a:t>
            </a:r>
            <a:endParaRPr lang="en-US" sz="1200" dirty="0">
              <a:latin typeface="Avenir Next Regular"/>
              <a:cs typeface="Avenir Next Regular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01759" y="4761726"/>
            <a:ext cx="1334946" cy="298617"/>
          </a:xfrm>
          <a:prstGeom prst="rect">
            <a:avLst/>
          </a:prstGeom>
          <a:solidFill>
            <a:srgbClr val="0022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000" dirty="0" smtClean="0">
                <a:latin typeface="Avenir Next Regular"/>
                <a:cs typeface="Avenir Next Regular"/>
              </a:rPr>
              <a:t>Provided by RA</a:t>
            </a:r>
            <a:endParaRPr lang="en-US" sz="1000" dirty="0">
              <a:latin typeface="Avenir Next Regular"/>
              <a:cs typeface="Avenir Next Regular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010420" y="4762665"/>
            <a:ext cx="1334946" cy="298617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Scaffolded by RA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398030" y="1444105"/>
            <a:ext cx="2743200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ng Routing</a:t>
            </a:r>
          </a:p>
        </p:txBody>
      </p:sp>
      <p:sp>
        <p:nvSpPr>
          <p:cNvPr id="25" name="Rectangle 24"/>
          <p:cNvSpPr/>
          <p:nvPr/>
        </p:nvSpPr>
        <p:spPr>
          <a:xfrm>
            <a:off x="825395" y="671127"/>
            <a:ext cx="6382339" cy="1503239"/>
          </a:xfrm>
          <a:prstGeom prst="rect">
            <a:avLst/>
          </a:prstGeom>
          <a:noFill/>
          <a:ln>
            <a:solidFill>
              <a:schemeClr val="accent1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91432" tIns="45715" rIns="91432" bIns="45715" rtlCol="0" anchor="t"/>
          <a:lstStyle/>
          <a:p>
            <a:pPr algn="ctr"/>
            <a:r>
              <a:rPr lang="en-US" sz="1400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JavaScript / HTML</a:t>
            </a:r>
            <a:endParaRPr lang="en-US" sz="1400" dirty="0">
              <a:solidFill>
                <a:schemeClr val="accent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193098" y="4763603"/>
            <a:ext cx="1334946" cy="298617"/>
          </a:xfrm>
          <a:prstGeom prst="rect">
            <a:avLst/>
          </a:prstGeom>
          <a:solidFill>
            <a:srgbClr val="6666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000" dirty="0" smtClean="0">
                <a:latin typeface="Avenir Next Regular"/>
                <a:cs typeface="Avenir Next Regular"/>
              </a:rPr>
              <a:t>Appliance/</a:t>
            </a:r>
          </a:p>
          <a:p>
            <a:pPr algn="ctr"/>
            <a:r>
              <a:rPr lang="en-US" sz="1000" dirty="0" smtClean="0">
                <a:latin typeface="Avenir Next Regular"/>
                <a:cs typeface="Avenir Next Regular"/>
              </a:rPr>
              <a:t>Platform</a:t>
            </a:r>
            <a:endParaRPr lang="en-US" sz="1000" dirty="0">
              <a:latin typeface="Avenir Next Regular"/>
              <a:cs typeface="Avenir Next Regular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419080" y="4763603"/>
            <a:ext cx="1334946" cy="29861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000" dirty="0" smtClean="0">
                <a:latin typeface="Avenir Next Regular"/>
                <a:cs typeface="Avenir Next Regular"/>
              </a:rPr>
              <a:t>Data</a:t>
            </a:r>
            <a:endParaRPr lang="en-US" sz="1000" dirty="0">
              <a:latin typeface="Avenir Next Regular"/>
              <a:cs typeface="Avenir Next Regular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956560" y="4723684"/>
            <a:ext cx="5826679" cy="38404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91432" tIns="45715" rIns="91432" bIns="45715" rtlCol="0" anchor="t"/>
          <a:lstStyle/>
          <a:p>
            <a:pPr algn="ctr"/>
            <a:r>
              <a:rPr lang="en-US" sz="650" dirty="0" smtClean="0">
                <a:solidFill>
                  <a:schemeClr val="bg1">
                    <a:lumMod val="50000"/>
                  </a:schemeClr>
                </a:solidFill>
                <a:latin typeface="Avenir Next Regular"/>
                <a:cs typeface="Avenir Next Regular"/>
              </a:rPr>
              <a:t>Legend</a:t>
            </a:r>
            <a:endParaRPr lang="en-US" sz="650" dirty="0">
              <a:solidFill>
                <a:schemeClr val="bg1">
                  <a:lumMod val="50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29" name="Rectangle 28"/>
          <p:cNvSpPr/>
          <p:nvPr/>
        </p:nvSpPr>
        <p:spPr>
          <a:xfrm rot="16200000">
            <a:off x="6882135" y="2210116"/>
            <a:ext cx="3440096" cy="362113"/>
          </a:xfrm>
          <a:prstGeom prst="rect">
            <a:avLst/>
          </a:prstGeom>
          <a:solidFill>
            <a:srgbClr val="6666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400" dirty="0" smtClean="0">
                <a:latin typeface="Avenir Next Regular"/>
                <a:cs typeface="Avenir Next Regular"/>
              </a:rPr>
              <a:t>Platform</a:t>
            </a:r>
            <a:endParaRPr lang="en-US" sz="1400" dirty="0">
              <a:latin typeface="Avenir Next Regular"/>
              <a:cs typeface="Avenir Next Regular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376571" y="2961684"/>
            <a:ext cx="5747371" cy="182880"/>
          </a:xfrm>
          <a:prstGeom prst="rect">
            <a:avLst/>
          </a:prstGeom>
          <a:solidFill>
            <a:srgbClr val="0022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200" dirty="0" smtClean="0">
                <a:latin typeface="Avenir Next Regular"/>
                <a:cs typeface="Avenir Next Regular"/>
              </a:rPr>
              <a:t>Middleware</a:t>
            </a:r>
            <a:endParaRPr lang="en-US" sz="1200" dirty="0">
              <a:latin typeface="Avenir Next Regular"/>
              <a:cs typeface="Avenir Next Regular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11518" y="4355614"/>
            <a:ext cx="8174815" cy="297666"/>
          </a:xfrm>
          <a:prstGeom prst="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Avenir Next Regular"/>
                <a:cs typeface="Avenir Next Regular"/>
              </a:rPr>
              <a:t>Backend </a:t>
            </a:r>
            <a:r>
              <a:rPr lang="en-US" sz="1600" b="1" dirty="0">
                <a:solidFill>
                  <a:schemeClr val="tx1"/>
                </a:solidFill>
                <a:latin typeface="Avenir Next Regular"/>
                <a:cs typeface="Avenir Next Regular"/>
              </a:rPr>
              <a:t>Servic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398030" y="965881"/>
            <a:ext cx="2743200" cy="182880"/>
          </a:xfrm>
          <a:prstGeom prst="rect">
            <a:avLst/>
          </a:prstGeom>
          <a:solidFill>
            <a:srgbClr val="339966"/>
          </a:solidFill>
          <a:ln w="25400">
            <a:solidFill>
              <a:srgbClr val="CC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200" dirty="0" smtClean="0">
                <a:latin typeface="Avenir Next Regular"/>
                <a:cs typeface="Avenir Next Regular"/>
              </a:rPr>
              <a:t>CSS</a:t>
            </a:r>
            <a:endParaRPr lang="en-US" sz="1200" dirty="0">
              <a:latin typeface="Avenir Next Regular"/>
              <a:cs typeface="Avenir Next Regular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365939" y="3928341"/>
            <a:ext cx="2755323" cy="182880"/>
          </a:xfrm>
          <a:prstGeom prst="rect">
            <a:avLst/>
          </a:prstGeom>
          <a:solidFill>
            <a:srgbClr val="6666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000" dirty="0">
                <a:latin typeface="Avenir Next Regular"/>
                <a:cs typeface="Avenir Next Regular"/>
              </a:rPr>
              <a:t>API Manager</a:t>
            </a:r>
          </a:p>
        </p:txBody>
      </p:sp>
      <p:sp>
        <p:nvSpPr>
          <p:cNvPr id="34" name="Rectangle 33"/>
          <p:cNvSpPr/>
          <p:nvPr/>
        </p:nvSpPr>
        <p:spPr>
          <a:xfrm rot="16200000">
            <a:off x="5744009" y="2286287"/>
            <a:ext cx="3435473" cy="205151"/>
          </a:xfrm>
          <a:prstGeom prst="rect">
            <a:avLst/>
          </a:prstGeom>
          <a:solidFill>
            <a:srgbClr val="6666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400" dirty="0" smtClean="0">
                <a:latin typeface="Calibri"/>
                <a:cs typeface="Calibri"/>
              </a:rPr>
              <a:t>Load Balancing and Routing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35" name="Rectangle 34"/>
          <p:cNvSpPr/>
          <p:nvPr/>
        </p:nvSpPr>
        <p:spPr>
          <a:xfrm rot="16200000">
            <a:off x="6436752" y="2270430"/>
            <a:ext cx="3435474" cy="231176"/>
          </a:xfrm>
          <a:prstGeom prst="rect">
            <a:avLst/>
          </a:prstGeom>
          <a:solidFill>
            <a:srgbClr val="0022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400" dirty="0" smtClean="0">
                <a:latin typeface="Calibri"/>
                <a:cs typeface="Calibri"/>
              </a:rPr>
              <a:t>Caching (HTTP, JSON)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36" name="Rectangle 35"/>
          <p:cNvSpPr/>
          <p:nvPr/>
        </p:nvSpPr>
        <p:spPr>
          <a:xfrm rot="16200000">
            <a:off x="6082084" y="2272172"/>
            <a:ext cx="3438958" cy="231176"/>
          </a:xfrm>
          <a:prstGeom prst="rect">
            <a:avLst/>
          </a:prstGeom>
          <a:solidFill>
            <a:srgbClr val="0022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400" dirty="0">
                <a:latin typeface="Calibri"/>
                <a:cs typeface="Calibri"/>
              </a:rPr>
              <a:t>Securit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434081" y="4233694"/>
            <a:ext cx="1692298" cy="1828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400" dirty="0">
                <a:latin typeface="Avenir Next Regular"/>
                <a:cs typeface="Avenir Next Regular"/>
              </a:rPr>
              <a:t>Various Protocol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216465" y="2335585"/>
            <a:ext cx="931526" cy="23169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400" dirty="0">
                <a:latin typeface="Avenir Next Regular"/>
                <a:cs typeface="Avenir Next Regular"/>
              </a:rPr>
              <a:t>HTML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226784" y="2335585"/>
            <a:ext cx="931526" cy="23169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400" dirty="0">
                <a:latin typeface="Avenir Next Regular"/>
                <a:cs typeface="Avenir Next Regular"/>
              </a:rPr>
              <a:t>JSON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365939" y="3417724"/>
            <a:ext cx="5734953" cy="182880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Orchestration Service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4345569" y="3928341"/>
            <a:ext cx="2755323" cy="182880"/>
          </a:xfrm>
          <a:prstGeom prst="rect">
            <a:avLst/>
          </a:prstGeom>
          <a:solidFill>
            <a:srgbClr val="6666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5" rIns="91432" bIns="45715" rtlCol="0" anchor="ctr"/>
          <a:lstStyle/>
          <a:p>
            <a:pPr algn="ctr"/>
            <a:r>
              <a:rPr lang="en-US" sz="1000" dirty="0">
                <a:latin typeface="Avenir Next Regular"/>
                <a:cs typeface="Avenir Next Regular"/>
              </a:rPr>
              <a:t>API Gateway</a:t>
            </a:r>
          </a:p>
        </p:txBody>
      </p:sp>
    </p:spTree>
    <p:extLst>
      <p:ext uri="{BB962C8B-B14F-4D97-AF65-F5344CB8AC3E}">
        <p14:creationId xmlns:p14="http://schemas.microsoft.com/office/powerpoint/2010/main" val="285731738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 Architecture in A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8253" y="2679507"/>
            <a:ext cx="2038681" cy="187428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D Environments</a:t>
            </a:r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074491" y="1436397"/>
            <a:ext cx="834241" cy="1090624"/>
            <a:chOff x="2813186" y="1777143"/>
            <a:chExt cx="834241" cy="1090624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3186" y="2004099"/>
              <a:ext cx="747844" cy="863668"/>
            </a:xfrm>
            <a:prstGeom prst="rect">
              <a:avLst/>
            </a:prstGeom>
            <a:ln w="28575" cmpd="sng">
              <a:noFill/>
            </a:ln>
          </p:spPr>
        </p:pic>
        <p:sp>
          <p:nvSpPr>
            <p:cNvPr id="10" name="TextBox 9"/>
            <p:cNvSpPr txBox="1"/>
            <p:nvPr/>
          </p:nvSpPr>
          <p:spPr>
            <a:xfrm>
              <a:off x="2815161" y="1777143"/>
              <a:ext cx="83226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Avenir Black"/>
                  <a:cs typeface="Avenir Black"/>
                </a:rPr>
                <a:t>Architect</a:t>
              </a:r>
              <a:endParaRPr lang="en-US" sz="1100" dirty="0">
                <a:latin typeface="Avenir Black"/>
                <a:cs typeface="Avenir Black"/>
              </a:endParaRPr>
            </a:p>
          </p:txBody>
        </p:sp>
      </p:grpSp>
      <p:sp>
        <p:nvSpPr>
          <p:cNvPr id="11" name="Flowchart: Document 35"/>
          <p:cNvSpPr/>
          <p:nvPr/>
        </p:nvSpPr>
        <p:spPr>
          <a:xfrm>
            <a:off x="126999" y="721613"/>
            <a:ext cx="1041288" cy="655350"/>
          </a:xfrm>
          <a:prstGeom prst="flowChartDocument">
            <a:avLst/>
          </a:prstGeom>
          <a:solidFill>
            <a:srgbClr val="FF3333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venir Book"/>
                <a:cs typeface="Avenir Book"/>
              </a:rPr>
              <a:t>Decision </a:t>
            </a:r>
            <a:r>
              <a:rPr lang="en-US" sz="1200" dirty="0">
                <a:solidFill>
                  <a:schemeClr val="bg1"/>
                </a:solidFill>
                <a:latin typeface="Avenir Book"/>
                <a:cs typeface="Avenir Book"/>
              </a:rPr>
              <a:t>Framework</a:t>
            </a:r>
          </a:p>
        </p:txBody>
      </p:sp>
      <p:sp>
        <p:nvSpPr>
          <p:cNvPr id="12" name="Flowchart: Document 36"/>
          <p:cNvSpPr/>
          <p:nvPr/>
        </p:nvSpPr>
        <p:spPr>
          <a:xfrm>
            <a:off x="1306786" y="720995"/>
            <a:ext cx="1529468" cy="655350"/>
          </a:xfrm>
          <a:prstGeom prst="flowChartDocument">
            <a:avLst/>
          </a:prstGeom>
          <a:solidFill>
            <a:srgbClr val="FF3333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venir Book"/>
                <a:cs typeface="Avenir Book"/>
              </a:rPr>
              <a:t>Usage Guide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Avenir Book"/>
                <a:cs typeface="Avenir Book"/>
              </a:rPr>
              <a:t>(Service Directory)</a:t>
            </a:r>
            <a:endParaRPr lang="en-US" sz="120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13" name="Flowchart: Document 38"/>
          <p:cNvSpPr/>
          <p:nvPr/>
        </p:nvSpPr>
        <p:spPr>
          <a:xfrm>
            <a:off x="2738301" y="1703949"/>
            <a:ext cx="1126711" cy="782475"/>
          </a:xfrm>
          <a:prstGeom prst="flowChartDocument">
            <a:avLst/>
          </a:prstGeom>
          <a:solidFill>
            <a:srgbClr val="FF3333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Avenir Book"/>
                <a:cs typeface="Avenir Book"/>
              </a:rPr>
              <a:t>Application Blueprint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509153" y="721613"/>
            <a:ext cx="1322088" cy="607846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Reference Implementation &amp; Sample Code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5132282" y="1376345"/>
            <a:ext cx="1170983" cy="1158937"/>
            <a:chOff x="3618510" y="2119475"/>
            <a:chExt cx="1170983" cy="1158937"/>
          </a:xfrm>
        </p:grpSpPr>
        <p:sp>
          <p:nvSpPr>
            <p:cNvPr id="17" name="TextBox 16"/>
            <p:cNvSpPr txBox="1"/>
            <p:nvPr/>
          </p:nvSpPr>
          <p:spPr>
            <a:xfrm>
              <a:off x="3618510" y="2119475"/>
              <a:ext cx="117098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Avenir Black"/>
                  <a:cs typeface="Avenir Black"/>
                </a:rPr>
                <a:t>UI Developer</a:t>
              </a:r>
              <a:endParaRPr lang="en-US" sz="1100" dirty="0">
                <a:latin typeface="Avenir Black"/>
                <a:cs typeface="Avenir Black"/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94051" y="2414744"/>
              <a:ext cx="747844" cy="863668"/>
            </a:xfrm>
            <a:prstGeom prst="rect">
              <a:avLst/>
            </a:prstGeom>
            <a:ln w="28575" cmpd="sng">
              <a:noFill/>
            </a:ln>
          </p:spPr>
        </p:pic>
      </p:grpSp>
      <p:grpSp>
        <p:nvGrpSpPr>
          <p:cNvPr id="70" name="Group 69"/>
          <p:cNvGrpSpPr/>
          <p:nvPr/>
        </p:nvGrpSpPr>
        <p:grpSpPr>
          <a:xfrm>
            <a:off x="6675754" y="1499420"/>
            <a:ext cx="2236899" cy="1420302"/>
            <a:chOff x="6254845" y="1521692"/>
            <a:chExt cx="2236899" cy="1420302"/>
          </a:xfrm>
        </p:grpSpPr>
        <p:sp>
          <p:nvSpPr>
            <p:cNvPr id="19" name="Rectangle 18"/>
            <p:cNvSpPr/>
            <p:nvPr/>
          </p:nvSpPr>
          <p:spPr>
            <a:xfrm>
              <a:off x="6254846" y="1521692"/>
              <a:ext cx="2159470" cy="123765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u="sng" dirty="0">
                  <a:solidFill>
                    <a:schemeClr val="bg1"/>
                  </a:solidFill>
                  <a:latin typeface="Avenir Book"/>
                  <a:cs typeface="Avenir Book"/>
                </a:rPr>
                <a:t>Development Accelerators: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254845" y="1718582"/>
              <a:ext cx="2236899" cy="12234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50" dirty="0" smtClean="0">
                  <a:solidFill>
                    <a:srgbClr val="FFFFFF"/>
                  </a:solidFill>
                  <a:latin typeface="Avenir Book"/>
                  <a:cs typeface="Avenir Book"/>
                </a:rPr>
                <a:t>Automated </a:t>
              </a:r>
              <a:r>
                <a:rPr lang="en-US" sz="1050" dirty="0">
                  <a:solidFill>
                    <a:srgbClr val="FFFFFF"/>
                  </a:solidFill>
                  <a:latin typeface="Avenir Book"/>
                  <a:cs typeface="Avenir Book"/>
                </a:rPr>
                <a:t>Dev workstation provision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50" dirty="0" smtClean="0">
                  <a:solidFill>
                    <a:srgbClr val="FFFFFF"/>
                  </a:solidFill>
                  <a:latin typeface="Avenir Book"/>
                  <a:cs typeface="Avenir Book"/>
                </a:rPr>
                <a:t>Scaffolds and live templat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50" dirty="0" smtClean="0">
                  <a:solidFill>
                    <a:srgbClr val="FFFFFF"/>
                  </a:solidFill>
                  <a:latin typeface="Avenir Book"/>
                  <a:cs typeface="Avenir Book"/>
                </a:rPr>
                <a:t>Reusable UX/UI component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srgbClr val="FFFFFF"/>
                  </a:solidFill>
                  <a:latin typeface="Avenir Book"/>
                  <a:cs typeface="Avenir Book"/>
                </a:rPr>
                <a:t>Automated </a:t>
              </a:r>
              <a:r>
                <a:rPr lang="en-US" sz="1050" dirty="0" smtClean="0">
                  <a:solidFill>
                    <a:srgbClr val="FFFFFF"/>
                  </a:solidFill>
                  <a:latin typeface="Avenir Book"/>
                  <a:cs typeface="Avenir Book"/>
                </a:rPr>
                <a:t>build, </a:t>
              </a:r>
              <a:r>
                <a:rPr lang="en-US" sz="1050" dirty="0">
                  <a:solidFill>
                    <a:srgbClr val="FFFFFF"/>
                  </a:solidFill>
                  <a:latin typeface="Avenir Book"/>
                  <a:cs typeface="Avenir Book"/>
                </a:rPr>
                <a:t>test, and optimize  tasks</a:t>
              </a:r>
            </a:p>
            <a:p>
              <a:endParaRPr lang="en-US" sz="1050" dirty="0" smtClean="0">
                <a:latin typeface="Calibri" panose="020F0502020204030204" pitchFamily="34" charset="0"/>
              </a:endParaRPr>
            </a:p>
          </p:txBody>
        </p:sp>
      </p:grpSp>
      <p:sp>
        <p:nvSpPr>
          <p:cNvPr id="21" name="Rectangle 20"/>
          <p:cNvSpPr/>
          <p:nvPr/>
        </p:nvSpPr>
        <p:spPr>
          <a:xfrm>
            <a:off x="6996997" y="721612"/>
            <a:ext cx="1834828" cy="607847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Execution (Runtime) Services and Frameworks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665711" y="4790525"/>
            <a:ext cx="352959" cy="253916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018670" y="4790525"/>
            <a:ext cx="16841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latin typeface="Calibri" panose="020F0502020204030204" pitchFamily="34" charset="0"/>
              </a:rPr>
              <a:t>Reference Architecture</a:t>
            </a:r>
            <a:endParaRPr lang="en-US" sz="1050" dirty="0">
              <a:latin typeface="Calibri" panose="020F050202020403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786041" y="4815967"/>
            <a:ext cx="352959" cy="25391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139000" y="4790525"/>
            <a:ext cx="119707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latin typeface="Calibri" panose="020F0502020204030204" pitchFamily="34" charset="0"/>
              </a:rPr>
              <a:t>Application</a:t>
            </a:r>
            <a:endParaRPr lang="en-US" sz="1050" dirty="0">
              <a:latin typeface="Calibri" panose="020F050202020403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72725" y="3054071"/>
            <a:ext cx="257106" cy="140329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smtClean="0">
                <a:solidFill>
                  <a:schemeClr val="bg1"/>
                </a:solidFill>
                <a:latin typeface="Avenir Black"/>
                <a:cs typeface="Avenir Black"/>
              </a:rPr>
              <a:t>Load  </a:t>
            </a:r>
          </a:p>
          <a:p>
            <a:pPr algn="ctr"/>
            <a:endParaRPr lang="en-US" sz="600" dirty="0">
              <a:solidFill>
                <a:schemeClr val="bg1"/>
              </a:solidFill>
              <a:latin typeface="Avenir Black"/>
              <a:cs typeface="Avenir Black"/>
            </a:endParaRPr>
          </a:p>
          <a:p>
            <a:pPr algn="ctr"/>
            <a:r>
              <a:rPr lang="en-US" sz="600" dirty="0" smtClean="0">
                <a:solidFill>
                  <a:schemeClr val="bg1"/>
                </a:solidFill>
                <a:latin typeface="Avenir Black"/>
                <a:cs typeface="Avenir Black"/>
              </a:rPr>
              <a:t>Ba</a:t>
            </a:r>
          </a:p>
          <a:p>
            <a:pPr algn="ctr"/>
            <a:r>
              <a:rPr lang="en-US" sz="600" dirty="0">
                <a:solidFill>
                  <a:schemeClr val="bg1"/>
                </a:solidFill>
                <a:latin typeface="Avenir Black"/>
                <a:cs typeface="Avenir Black"/>
              </a:rPr>
              <a:t>l</a:t>
            </a:r>
            <a:endParaRPr lang="en-US" sz="600" dirty="0" smtClean="0">
              <a:solidFill>
                <a:schemeClr val="bg1"/>
              </a:solidFill>
              <a:latin typeface="Avenir Black"/>
              <a:cs typeface="Avenir Black"/>
            </a:endParaRPr>
          </a:p>
          <a:p>
            <a:pPr algn="ctr"/>
            <a:r>
              <a:rPr lang="en-US" sz="600" dirty="0" smtClean="0">
                <a:solidFill>
                  <a:schemeClr val="bg1"/>
                </a:solidFill>
                <a:latin typeface="Avenir Black"/>
                <a:cs typeface="Avenir Black"/>
              </a:rPr>
              <a:t>ance</a:t>
            </a:r>
          </a:p>
          <a:p>
            <a:pPr algn="ctr"/>
            <a:r>
              <a:rPr lang="en-US" sz="600" dirty="0">
                <a:solidFill>
                  <a:schemeClr val="bg1"/>
                </a:solidFill>
                <a:latin typeface="Avenir Black"/>
                <a:cs typeface="Avenir Black"/>
              </a:rPr>
              <a:t>r</a:t>
            </a:r>
          </a:p>
        </p:txBody>
      </p:sp>
      <p:sp>
        <p:nvSpPr>
          <p:cNvPr id="59" name="Right Arrow 58"/>
          <p:cNvSpPr/>
          <p:nvPr/>
        </p:nvSpPr>
        <p:spPr>
          <a:xfrm>
            <a:off x="2105485" y="1834656"/>
            <a:ext cx="575147" cy="24231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60" name="Right Arrow 59"/>
          <p:cNvSpPr/>
          <p:nvPr/>
        </p:nvSpPr>
        <p:spPr>
          <a:xfrm>
            <a:off x="4040376" y="1834656"/>
            <a:ext cx="1158119" cy="242316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61" name="Right Arrow 60"/>
          <p:cNvSpPr/>
          <p:nvPr/>
        </p:nvSpPr>
        <p:spPr>
          <a:xfrm rot="5400000">
            <a:off x="5595091" y="2549273"/>
            <a:ext cx="189143" cy="260467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62" name="Right Arrow 61"/>
          <p:cNvSpPr/>
          <p:nvPr/>
        </p:nvSpPr>
        <p:spPr>
          <a:xfrm rot="10800000">
            <a:off x="4394622" y="3895782"/>
            <a:ext cx="913200" cy="331225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883189" y="3741343"/>
            <a:ext cx="1511433" cy="640287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Automated Application Deployment Script</a:t>
            </a:r>
          </a:p>
        </p:txBody>
      </p:sp>
      <p:sp>
        <p:nvSpPr>
          <p:cNvPr id="64" name="Rectangle 63"/>
          <p:cNvSpPr/>
          <p:nvPr/>
        </p:nvSpPr>
        <p:spPr>
          <a:xfrm>
            <a:off x="873669" y="3075319"/>
            <a:ext cx="530686" cy="562793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dirty="0" smtClean="0">
                <a:solidFill>
                  <a:schemeClr val="bg1"/>
                </a:solidFill>
                <a:latin typeface="Avenir Book"/>
                <a:cs typeface="Avenir Book"/>
              </a:rPr>
              <a:t>Web Server</a:t>
            </a:r>
            <a:endParaRPr lang="en-US" sz="95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2883189" y="2957348"/>
            <a:ext cx="1518243" cy="617917"/>
          </a:xfrm>
          <a:prstGeom prst="rect">
            <a:avLst/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Automated Environment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venir Book"/>
                <a:cs typeface="Avenir Book"/>
              </a:rPr>
              <a:t>Provisioning Script</a:t>
            </a:r>
          </a:p>
        </p:txBody>
      </p:sp>
      <p:sp>
        <p:nvSpPr>
          <p:cNvPr id="66" name="Right Arrow 65"/>
          <p:cNvSpPr/>
          <p:nvPr/>
        </p:nvSpPr>
        <p:spPr>
          <a:xfrm rot="9534648">
            <a:off x="2209995" y="3363960"/>
            <a:ext cx="645315" cy="275075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67" name="Right Arrow 66"/>
          <p:cNvSpPr/>
          <p:nvPr/>
        </p:nvSpPr>
        <p:spPr>
          <a:xfrm rot="5400000">
            <a:off x="3085281" y="2577253"/>
            <a:ext cx="421208" cy="261608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68" name="Right Arrow 67"/>
          <p:cNvSpPr/>
          <p:nvPr/>
        </p:nvSpPr>
        <p:spPr>
          <a:xfrm rot="10800000">
            <a:off x="2291834" y="3866940"/>
            <a:ext cx="502369" cy="331225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873669" y="3893844"/>
            <a:ext cx="530686" cy="562793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dirty="0" smtClean="0">
                <a:solidFill>
                  <a:schemeClr val="bg1"/>
                </a:solidFill>
                <a:latin typeface="Avenir Book"/>
                <a:cs typeface="Avenir Book"/>
              </a:rPr>
              <a:t>Web Server</a:t>
            </a:r>
            <a:endParaRPr lang="en-US" sz="95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689124" y="3075319"/>
            <a:ext cx="530686" cy="562793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dirty="0" smtClean="0">
                <a:solidFill>
                  <a:schemeClr val="bg1"/>
                </a:solidFill>
                <a:latin typeface="Avenir Book"/>
                <a:cs typeface="Avenir Book"/>
              </a:rPr>
              <a:t>Web API</a:t>
            </a:r>
            <a:endParaRPr lang="en-US" sz="95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679987" y="3893844"/>
            <a:ext cx="530686" cy="562793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dirty="0" smtClean="0">
                <a:solidFill>
                  <a:schemeClr val="bg1"/>
                </a:solidFill>
                <a:latin typeface="Avenir Book"/>
                <a:cs typeface="Avenir Book"/>
              </a:rPr>
              <a:t>Web API</a:t>
            </a:r>
            <a:endParaRPr lang="en-US" sz="95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75" name="Left-Right Arrow 74"/>
          <p:cNvSpPr/>
          <p:nvPr/>
        </p:nvSpPr>
        <p:spPr>
          <a:xfrm>
            <a:off x="1440903" y="3289654"/>
            <a:ext cx="211673" cy="154986"/>
          </a:xfrm>
          <a:prstGeom prst="leftRightArrow">
            <a:avLst/>
          </a:prstGeom>
          <a:solidFill>
            <a:srgbClr val="741C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76" name="Left-Right Arrow 75"/>
          <p:cNvSpPr/>
          <p:nvPr/>
        </p:nvSpPr>
        <p:spPr>
          <a:xfrm>
            <a:off x="1447111" y="4154662"/>
            <a:ext cx="211673" cy="154986"/>
          </a:xfrm>
          <a:prstGeom prst="leftRightArrow">
            <a:avLst/>
          </a:prstGeom>
          <a:solidFill>
            <a:srgbClr val="741C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77" name="Left-Right Arrow 76"/>
          <p:cNvSpPr/>
          <p:nvPr/>
        </p:nvSpPr>
        <p:spPr>
          <a:xfrm>
            <a:off x="629831" y="3294784"/>
            <a:ext cx="211673" cy="154986"/>
          </a:xfrm>
          <a:prstGeom prst="leftRightArrow">
            <a:avLst/>
          </a:prstGeom>
          <a:solidFill>
            <a:srgbClr val="741C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78" name="Left-Right Arrow 77"/>
          <p:cNvSpPr/>
          <p:nvPr/>
        </p:nvSpPr>
        <p:spPr>
          <a:xfrm>
            <a:off x="636039" y="4159792"/>
            <a:ext cx="211673" cy="154986"/>
          </a:xfrm>
          <a:prstGeom prst="leftRightArrow">
            <a:avLst/>
          </a:prstGeom>
          <a:solidFill>
            <a:srgbClr val="741C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79" name="Flowchart: Document 41"/>
          <p:cNvSpPr/>
          <p:nvPr/>
        </p:nvSpPr>
        <p:spPr>
          <a:xfrm>
            <a:off x="4251104" y="721613"/>
            <a:ext cx="1056718" cy="655350"/>
          </a:xfrm>
          <a:prstGeom prst="flowChartDocument">
            <a:avLst/>
          </a:prstGeom>
          <a:solidFill>
            <a:srgbClr val="FF3333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latin typeface="Avenir Book"/>
                <a:cs typeface="Avenir Book"/>
              </a:rPr>
              <a:t>Micro - Methodology</a:t>
            </a:r>
            <a:endParaRPr lang="en-US" sz="110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80" name="Flowchart: Document 41"/>
          <p:cNvSpPr/>
          <p:nvPr/>
        </p:nvSpPr>
        <p:spPr>
          <a:xfrm>
            <a:off x="3042685" y="782035"/>
            <a:ext cx="1056718" cy="655350"/>
          </a:xfrm>
          <a:prstGeom prst="flowChartDocument">
            <a:avLst/>
          </a:prstGeom>
          <a:solidFill>
            <a:srgbClr val="FF3333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venir Book"/>
                <a:cs typeface="Avenir Book"/>
              </a:rPr>
              <a:t>Developer Guides</a:t>
            </a:r>
            <a:endParaRPr lang="en-US" sz="120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14" name="Flowchart: Document 41"/>
          <p:cNvSpPr/>
          <p:nvPr/>
        </p:nvSpPr>
        <p:spPr>
          <a:xfrm>
            <a:off x="2981655" y="720995"/>
            <a:ext cx="1056718" cy="655350"/>
          </a:xfrm>
          <a:prstGeom prst="flowChartDocument">
            <a:avLst/>
          </a:prstGeom>
          <a:solidFill>
            <a:srgbClr val="FF3333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venir Book"/>
                <a:cs typeface="Avenir Book"/>
              </a:rPr>
              <a:t>Developer Guides</a:t>
            </a:r>
            <a:endParaRPr lang="en-US" sz="120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sp>
        <p:nvSpPr>
          <p:cNvPr id="81" name="Flowchart: Document 38"/>
          <p:cNvSpPr/>
          <p:nvPr/>
        </p:nvSpPr>
        <p:spPr>
          <a:xfrm>
            <a:off x="4273379" y="4794671"/>
            <a:ext cx="274380" cy="274637"/>
          </a:xfrm>
          <a:prstGeom prst="flowChartDocument">
            <a:avLst/>
          </a:prstGeom>
          <a:solidFill>
            <a:srgbClr val="FF3333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Avenir Book"/>
              <a:cs typeface="Avenir Book"/>
            </a:endParaRPr>
          </a:p>
        </p:txBody>
      </p:sp>
      <p:grpSp>
        <p:nvGrpSpPr>
          <p:cNvPr id="69" name="Group 68"/>
          <p:cNvGrpSpPr/>
          <p:nvPr/>
        </p:nvGrpSpPr>
        <p:grpSpPr>
          <a:xfrm>
            <a:off x="5113107" y="2797794"/>
            <a:ext cx="3746084" cy="1755994"/>
            <a:chOff x="5113107" y="2797794"/>
            <a:chExt cx="3746084" cy="1755994"/>
          </a:xfrm>
        </p:grpSpPr>
        <p:grpSp>
          <p:nvGrpSpPr>
            <p:cNvPr id="6" name="Group 5"/>
            <p:cNvGrpSpPr/>
            <p:nvPr/>
          </p:nvGrpSpPr>
          <p:grpSpPr>
            <a:xfrm>
              <a:off x="5472682" y="2933026"/>
              <a:ext cx="3386509" cy="1620762"/>
              <a:chOff x="5472682" y="2933026"/>
              <a:chExt cx="3386509" cy="1620762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5472682" y="2933026"/>
                <a:ext cx="3386509" cy="1620762"/>
                <a:chOff x="4352106" y="3619500"/>
                <a:chExt cx="4663527" cy="2062721"/>
              </a:xfrm>
            </p:grpSpPr>
            <p:sp>
              <p:nvSpPr>
                <p:cNvPr id="25" name="Flowchart: Process 7"/>
                <p:cNvSpPr/>
                <p:nvPr/>
              </p:nvSpPr>
              <p:spPr>
                <a:xfrm>
                  <a:off x="4352106" y="3619500"/>
                  <a:ext cx="4663527" cy="2062721"/>
                </a:xfrm>
                <a:prstGeom prst="flowChartProcess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r>
                    <a:rPr lang="en-US" sz="1600" b="1" dirty="0" smtClean="0">
                      <a:solidFill>
                        <a:schemeClr val="tx1"/>
                      </a:solidFill>
                      <a:latin typeface="Avenir Next Regular"/>
                      <a:cs typeface="Avenir Next Regular"/>
                    </a:rPr>
                    <a:t>CI</a:t>
                  </a:r>
                  <a:endParaRPr lang="en-US" sz="1600" b="1" dirty="0">
                    <a:solidFill>
                      <a:schemeClr val="tx1"/>
                    </a:solidFill>
                    <a:latin typeface="Avenir Next Regular"/>
                    <a:cs typeface="Avenir Next Regular"/>
                  </a:endParaRPr>
                </a:p>
              </p:txBody>
            </p:sp>
            <p:grpSp>
              <p:nvGrpSpPr>
                <p:cNvPr id="26" name="Group 25"/>
                <p:cNvGrpSpPr/>
                <p:nvPr/>
              </p:nvGrpSpPr>
              <p:grpSpPr>
                <a:xfrm>
                  <a:off x="4568663" y="3688012"/>
                  <a:ext cx="4366972" cy="1931183"/>
                  <a:chOff x="3396600" y="1600328"/>
                  <a:chExt cx="5500341" cy="2769392"/>
                </a:xfrm>
              </p:grpSpPr>
              <p:pic>
                <p:nvPicPr>
                  <p:cNvPr id="27" name="Picture 26"/>
                  <p:cNvPicPr>
                    <a:picLocks noChangeAspect="1"/>
                  </p:cNvPicPr>
                  <p:nvPr/>
                </p:nvPicPr>
                <p:blipFill>
                  <a:blip r:embed="rId3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920236" y="1900269"/>
                    <a:ext cx="506939" cy="563786"/>
                  </a:xfrm>
                  <a:prstGeom prst="rect">
                    <a:avLst/>
                  </a:prstGeom>
                </p:spPr>
              </p:pic>
              <p:pic>
                <p:nvPicPr>
                  <p:cNvPr id="28" name="Picture 27"/>
                  <p:cNvPicPr>
                    <a:picLocks noChangeAspect="1"/>
                  </p:cNvPicPr>
                  <p:nvPr/>
                </p:nvPicPr>
                <p:blipFill>
                  <a:blip r:embed="rId4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951909" y="2726085"/>
                    <a:ext cx="427192" cy="443394"/>
                  </a:xfrm>
                  <a:prstGeom prst="rect">
                    <a:avLst/>
                  </a:prstGeom>
                </p:spPr>
              </p:pic>
              <p:sp>
                <p:nvSpPr>
                  <p:cNvPr id="29" name="Rectangle 28"/>
                  <p:cNvSpPr/>
                  <p:nvPr/>
                </p:nvSpPr>
                <p:spPr>
                  <a:xfrm>
                    <a:off x="6693306" y="1820082"/>
                    <a:ext cx="2203635" cy="2549638"/>
                  </a:xfrm>
                  <a:prstGeom prst="rect">
                    <a:avLst/>
                  </a:prstGeom>
                  <a:noFill/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chemeClr val="tx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0" name="Down Arrow 29"/>
                  <p:cNvSpPr/>
                  <p:nvPr/>
                </p:nvSpPr>
                <p:spPr bwMode="auto">
                  <a:xfrm rot="5400000" flipV="1">
                    <a:off x="4368080" y="2329920"/>
                    <a:ext cx="533831" cy="387641"/>
                  </a:xfrm>
                  <a:prstGeom prst="downArrow">
                    <a:avLst/>
                  </a:prstGeom>
                  <a:solidFill>
                    <a:srgbClr val="CC0000"/>
                  </a:solidFill>
                  <a:ln>
                    <a:solidFill>
                      <a:schemeClr val="bg1">
                        <a:lumMod val="95000"/>
                      </a:schemeClr>
                    </a:solidFill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lt1"/>
                  </a:lnRef>
                  <a:fillRef idx="1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14400" rtl="0" eaLnBrk="0" fontAlgn="base" latinLnBrk="0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000" b="1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alibri" panose="020F0502020204030204" pitchFamily="34" charset="0"/>
                    </a:endParaRPr>
                  </a:p>
                </p:txBody>
              </p:sp>
              <p:pic>
                <p:nvPicPr>
                  <p:cNvPr id="32" name="Picture 2" descr="http://connect.icrossing.co.uk/wp-content/uploads/2013/04/DesktopMobile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624178" y="3533363"/>
                    <a:ext cx="1579882" cy="637879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34" name="Down Arrow 33"/>
                  <p:cNvSpPr/>
                  <p:nvPr/>
                </p:nvSpPr>
                <p:spPr bwMode="auto">
                  <a:xfrm rot="16200000" flipV="1">
                    <a:off x="3959637" y="3520553"/>
                    <a:ext cx="587275" cy="454438"/>
                  </a:xfrm>
                  <a:prstGeom prst="downArrow">
                    <a:avLst/>
                  </a:prstGeom>
                  <a:solidFill>
                    <a:srgbClr val="CC0000"/>
                  </a:solidFill>
                  <a:ln>
                    <a:solidFill>
                      <a:schemeClr val="bg1">
                        <a:lumMod val="95000"/>
                      </a:schemeClr>
                    </a:solidFill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lt1"/>
                  </a:lnRef>
                  <a:fillRef idx="1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000" b="1" dirty="0">
                      <a:solidFill>
                        <a:schemeClr val="tx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5" name="Down Arrow 34"/>
                  <p:cNvSpPr/>
                  <p:nvPr/>
                </p:nvSpPr>
                <p:spPr bwMode="auto">
                  <a:xfrm flipV="1">
                    <a:off x="3396600" y="3003560"/>
                    <a:ext cx="514378" cy="433371"/>
                  </a:xfrm>
                  <a:prstGeom prst="downArrow">
                    <a:avLst/>
                  </a:prstGeom>
                  <a:solidFill>
                    <a:srgbClr val="CC0000"/>
                  </a:solidFill>
                  <a:ln>
                    <a:solidFill>
                      <a:schemeClr val="bg1">
                        <a:lumMod val="95000"/>
                      </a:schemeClr>
                    </a:solidFill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lt1"/>
                  </a:lnRef>
                  <a:fillRef idx="1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000" b="1" dirty="0">
                      <a:solidFill>
                        <a:schemeClr val="tx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6" name="Oval 35"/>
                  <p:cNvSpPr/>
                  <p:nvPr/>
                </p:nvSpPr>
                <p:spPr>
                  <a:xfrm>
                    <a:off x="7994788" y="2296551"/>
                    <a:ext cx="266683" cy="290370"/>
                  </a:xfrm>
                  <a:prstGeom prst="ellipse">
                    <a:avLst/>
                  </a:prstGeom>
                  <a:solidFill>
                    <a:srgbClr val="996633"/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 dirty="0">
                      <a:solidFill>
                        <a:schemeClr val="tx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pic>
                <p:nvPicPr>
                  <p:cNvPr id="38" name="Picture 37" descr="phabricator_logo.png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46284" y="2175587"/>
                    <a:ext cx="540620" cy="680601"/>
                  </a:xfrm>
                  <a:prstGeom prst="rect">
                    <a:avLst/>
                  </a:prstGeom>
                </p:spPr>
              </p:pic>
              <p:pic>
                <p:nvPicPr>
                  <p:cNvPr id="40" name="Picture 39"/>
                  <p:cNvPicPr>
                    <a:picLocks noChangeAspect="1"/>
                  </p:cNvPicPr>
                  <p:nvPr/>
                </p:nvPicPr>
                <p:blipFill>
                  <a:blip r:embed="rId7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49215" y="1900269"/>
                    <a:ext cx="362748" cy="407583"/>
                  </a:xfrm>
                  <a:prstGeom prst="rect">
                    <a:avLst/>
                  </a:prstGeom>
                </p:spPr>
              </p:pic>
              <p:pic>
                <p:nvPicPr>
                  <p:cNvPr id="42" name="Picture 41"/>
                  <p:cNvPicPr>
                    <a:picLocks noChangeAspect="1"/>
                  </p:cNvPicPr>
                  <p:nvPr/>
                </p:nvPicPr>
                <p:blipFill>
                  <a:blip r:embed="rId8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49215" y="3583480"/>
                    <a:ext cx="533650" cy="593491"/>
                  </a:xfrm>
                  <a:prstGeom prst="rect">
                    <a:avLst/>
                  </a:prstGeom>
                </p:spPr>
              </p:pic>
              <p:sp>
                <p:nvSpPr>
                  <p:cNvPr id="43" name="Down Arrow 42"/>
                  <p:cNvSpPr/>
                  <p:nvPr/>
                </p:nvSpPr>
                <p:spPr bwMode="auto">
                  <a:xfrm rot="16200000" flipV="1">
                    <a:off x="6135959" y="3663866"/>
                    <a:ext cx="587275" cy="307155"/>
                  </a:xfrm>
                  <a:prstGeom prst="downArrow">
                    <a:avLst/>
                  </a:prstGeom>
                  <a:solidFill>
                    <a:srgbClr val="CC0000"/>
                  </a:solidFill>
                  <a:ln>
                    <a:solidFill>
                      <a:schemeClr val="bg1">
                        <a:lumMod val="95000"/>
                      </a:schemeClr>
                    </a:solidFill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lt1"/>
                  </a:lnRef>
                  <a:fillRef idx="1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eaLnBrk="0" fontAlgn="base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000" b="1" dirty="0">
                      <a:solidFill>
                        <a:schemeClr val="tx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pic>
                <p:nvPicPr>
                  <p:cNvPr id="44" name="Picture 43"/>
                  <p:cNvPicPr>
                    <a:picLocks noChangeAspect="1"/>
                  </p:cNvPicPr>
                  <p:nvPr/>
                </p:nvPicPr>
                <p:blipFill>
                  <a:blip r:embed="rId9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699205" y="2352446"/>
                    <a:ext cx="542077" cy="234946"/>
                  </a:xfrm>
                  <a:prstGeom prst="rect">
                    <a:avLst/>
                  </a:prstGeom>
                </p:spPr>
              </p:pic>
              <p:sp>
                <p:nvSpPr>
                  <p:cNvPr id="45" name="Down Arrow 44"/>
                  <p:cNvSpPr/>
                  <p:nvPr/>
                </p:nvSpPr>
                <p:spPr bwMode="auto">
                  <a:xfrm rot="5400000" flipV="1">
                    <a:off x="5355055" y="2373248"/>
                    <a:ext cx="415582" cy="219780"/>
                  </a:xfrm>
                  <a:prstGeom prst="downArrow">
                    <a:avLst/>
                  </a:prstGeom>
                  <a:solidFill>
                    <a:srgbClr val="CC0000"/>
                  </a:solidFill>
                  <a:ln>
                    <a:solidFill>
                      <a:schemeClr val="bg1">
                        <a:lumMod val="95000"/>
                      </a:schemeClr>
                    </a:solidFill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lt1"/>
                  </a:lnRef>
                  <a:fillRef idx="1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14400" rtl="0" eaLnBrk="0" fontAlgn="base" latinLnBrk="0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000" b="1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6" name="Down Arrow 45"/>
                  <p:cNvSpPr/>
                  <p:nvPr/>
                </p:nvSpPr>
                <p:spPr bwMode="auto">
                  <a:xfrm rot="5400000" flipV="1">
                    <a:off x="6238245" y="2360261"/>
                    <a:ext cx="415582" cy="219780"/>
                  </a:xfrm>
                  <a:prstGeom prst="downArrow">
                    <a:avLst/>
                  </a:prstGeom>
                  <a:solidFill>
                    <a:srgbClr val="CC0000"/>
                  </a:solidFill>
                  <a:ln>
                    <a:solidFill>
                      <a:schemeClr val="bg1">
                        <a:lumMod val="95000"/>
                      </a:schemeClr>
                    </a:solidFill>
                    <a:headEnd type="none" w="med" len="med"/>
                    <a:tailEnd type="none" w="med" len="med"/>
                  </a:ln>
                </p:spPr>
                <p:style>
                  <a:lnRef idx="3">
                    <a:schemeClr val="lt1"/>
                  </a:lnRef>
                  <a:fillRef idx="1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14400" rtl="0" eaLnBrk="0" fontAlgn="base" latinLnBrk="0" hangingPunct="0">
                      <a:lnSpc>
                        <a:spcPct val="8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000" b="1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Calibri" panose="020F0502020204030204" pitchFamily="34" charset="0"/>
                    </a:endParaRPr>
                  </a:p>
                </p:txBody>
              </p:sp>
              <p:pic>
                <p:nvPicPr>
                  <p:cNvPr id="47" name="Picture 46"/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96783" y="2518311"/>
                    <a:ext cx="329017" cy="382473"/>
                  </a:xfrm>
                  <a:prstGeom prst="rect">
                    <a:avLst/>
                  </a:prstGeom>
                </p:spPr>
              </p:pic>
              <p:pic>
                <p:nvPicPr>
                  <p:cNvPr id="48" name="Picture 47"/>
                  <p:cNvPicPr>
                    <a:picLocks noChangeAspect="1"/>
                  </p:cNvPicPr>
                  <p:nvPr/>
                </p:nvPicPr>
                <p:blipFill>
                  <a:blip r:embed="rId11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424775" y="2196312"/>
                    <a:ext cx="287096" cy="471230"/>
                  </a:xfrm>
                  <a:prstGeom prst="rect">
                    <a:avLst/>
                  </a:prstGeom>
                </p:spPr>
              </p:pic>
              <p:pic>
                <p:nvPicPr>
                  <p:cNvPr id="51" name="Picture 50"/>
                  <p:cNvPicPr>
                    <a:picLocks noChangeAspect="1"/>
                  </p:cNvPicPr>
                  <p:nvPr/>
                </p:nvPicPr>
                <p:blipFill>
                  <a:blip r:embed="rId12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466377" y="1600328"/>
                    <a:ext cx="453858" cy="649754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5" name="TextBox 4"/>
              <p:cNvSpPr txBox="1"/>
              <p:nvPr/>
            </p:nvSpPr>
            <p:spPr>
              <a:xfrm>
                <a:off x="8197283" y="3366707"/>
                <a:ext cx="342052" cy="1538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400" dirty="0" smtClean="0">
                    <a:solidFill>
                      <a:schemeClr val="bg1"/>
                    </a:solidFill>
                  </a:rPr>
                  <a:t>mocha</a:t>
                </a:r>
                <a:endParaRPr lang="en-US" sz="4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Rectangle 23"/>
            <p:cNvSpPr/>
            <p:nvPr/>
          </p:nvSpPr>
          <p:spPr>
            <a:xfrm>
              <a:off x="5113107" y="2797794"/>
              <a:ext cx="1033662" cy="805255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bg1"/>
                  </a:solidFill>
                  <a:latin typeface="Avenir Book"/>
                  <a:cs typeface="Avenir Book"/>
                </a:rPr>
                <a:t>Application Code and Artifacts</a:t>
              </a:r>
            </a:p>
          </p:txBody>
        </p:sp>
        <p:sp>
          <p:nvSpPr>
            <p:cNvPr id="82" name="Notched Right Arrow 81"/>
            <p:cNvSpPr/>
            <p:nvPr/>
          </p:nvSpPr>
          <p:spPr>
            <a:xfrm rot="16200000" flipH="1" flipV="1">
              <a:off x="7771835" y="3475945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84445" y="4051837"/>
              <a:ext cx="496296" cy="248148"/>
            </a:xfrm>
            <a:prstGeom prst="rect">
              <a:avLst/>
            </a:prstGeom>
          </p:spPr>
        </p:pic>
        <p:sp>
          <p:nvSpPr>
            <p:cNvPr id="83" name="Notched Right Arrow 82"/>
            <p:cNvSpPr/>
            <p:nvPr/>
          </p:nvSpPr>
          <p:spPr>
            <a:xfrm rot="10800000" flipH="1" flipV="1">
              <a:off x="7953722" y="3674970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75956" y="3603049"/>
              <a:ext cx="303236" cy="219035"/>
            </a:xfrm>
            <a:prstGeom prst="rect">
              <a:avLst/>
            </a:prstGeom>
          </p:spPr>
        </p:pic>
        <p:sp>
          <p:nvSpPr>
            <p:cNvPr id="84" name="Notched Right Arrow 83"/>
            <p:cNvSpPr/>
            <p:nvPr/>
          </p:nvSpPr>
          <p:spPr>
            <a:xfrm rot="8305502" flipH="1" flipV="1">
              <a:off x="8143449" y="3449770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Notched Right Arrow 84"/>
            <p:cNvSpPr/>
            <p:nvPr/>
          </p:nvSpPr>
          <p:spPr>
            <a:xfrm rot="16200000" flipH="1" flipV="1">
              <a:off x="8391728" y="3845379"/>
              <a:ext cx="281499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7840868" y="3138200"/>
              <a:ext cx="640066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800" b="1" i="1" dirty="0" smtClean="0">
                  <a:solidFill>
                    <a:schemeClr val="accent1"/>
                  </a:solidFill>
                  <a:latin typeface="Avenir Next Regular"/>
                  <a:cs typeface="Avenir Next Regular"/>
                </a:rPr>
                <a:t>Analyze,</a:t>
              </a:r>
            </a:p>
            <a:p>
              <a:r>
                <a:rPr lang="en-US" sz="800" b="1" i="1" dirty="0" smtClean="0">
                  <a:solidFill>
                    <a:schemeClr val="accent1"/>
                  </a:solidFill>
                  <a:latin typeface="Avenir Next Regular"/>
                  <a:cs typeface="Avenir Next Regular"/>
                </a:rPr>
                <a:t>Test</a:t>
              </a:r>
              <a:endParaRPr lang="en-US" sz="800" b="1" i="1" dirty="0">
                <a:solidFill>
                  <a:schemeClr val="accent1"/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8294312" y="4322347"/>
              <a:ext cx="473352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800" b="1" i="1" dirty="0" smtClean="0">
                  <a:solidFill>
                    <a:schemeClr val="accent1"/>
                  </a:solidFill>
                  <a:latin typeface="Avenir Next Regular"/>
                  <a:cs typeface="Avenir Next Regular"/>
                </a:rPr>
                <a:t>Build</a:t>
              </a:r>
              <a:endParaRPr lang="en-US" sz="800" b="1" i="1" dirty="0">
                <a:solidFill>
                  <a:schemeClr val="accent1"/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87" name="Notched Right Arrow 86"/>
            <p:cNvSpPr/>
            <p:nvPr/>
          </p:nvSpPr>
          <p:spPr>
            <a:xfrm flipH="1" flipV="1">
              <a:off x="8120748" y="4175150"/>
              <a:ext cx="281499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11525" y="4071595"/>
              <a:ext cx="457564" cy="258157"/>
            </a:xfrm>
            <a:prstGeom prst="rect">
              <a:avLst/>
            </a:prstGeom>
          </p:spPr>
        </p:pic>
        <p:sp>
          <p:nvSpPr>
            <p:cNvPr id="88" name="TextBox 87"/>
            <p:cNvSpPr txBox="1"/>
            <p:nvPr/>
          </p:nvSpPr>
          <p:spPr>
            <a:xfrm>
              <a:off x="7598629" y="4314778"/>
              <a:ext cx="572560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800" b="1" i="1" dirty="0" smtClean="0">
                  <a:solidFill>
                    <a:schemeClr val="accent1"/>
                  </a:solidFill>
                  <a:latin typeface="Avenir Next Regular"/>
                  <a:cs typeface="Avenir Next Regular"/>
                </a:rPr>
                <a:t>Deploy</a:t>
              </a:r>
              <a:endParaRPr lang="en-US" sz="800" b="1" i="1" dirty="0">
                <a:solidFill>
                  <a:schemeClr val="accent1"/>
                </a:solidFill>
                <a:latin typeface="Avenir Next Regular"/>
                <a:cs typeface="Avenir Next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6409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 - Asset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4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6999" y="1039526"/>
            <a:ext cx="3483430" cy="3528610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dirty="0" smtClean="0"/>
              <a:t>Developer productivity is at the heart of AOWP</a:t>
            </a:r>
          </a:p>
          <a:p>
            <a:r>
              <a:rPr lang="en-US" b="1" dirty="0" smtClean="0">
                <a:solidFill>
                  <a:srgbClr val="CA2F31"/>
                </a:solidFill>
              </a:rPr>
              <a:t>Scaffolding</a:t>
            </a:r>
            <a:r>
              <a:rPr lang="en-US" dirty="0" smtClean="0"/>
              <a:t> for rapid application structure: so developers can focus on application logic.</a:t>
            </a:r>
          </a:p>
          <a:p>
            <a:r>
              <a:rPr lang="en-US" b="1" dirty="0" smtClean="0">
                <a:solidFill>
                  <a:srgbClr val="CA2F31"/>
                </a:solidFill>
              </a:rPr>
              <a:t>Preconfigured Environments</a:t>
            </a:r>
            <a:r>
              <a:rPr lang="en-US" dirty="0" smtClean="0"/>
              <a:t>: so developers can focus on code instead of setup and troubleshooting local machines. </a:t>
            </a:r>
          </a:p>
          <a:p>
            <a:r>
              <a:rPr lang="en-US" b="1" dirty="0" smtClean="0">
                <a:solidFill>
                  <a:srgbClr val="CA2F31"/>
                </a:solidFill>
              </a:rPr>
              <a:t>Task Automation</a:t>
            </a:r>
            <a:r>
              <a:rPr lang="en-US" dirty="0" smtClean="0"/>
              <a:t>: so developers can focus on value-add work, rather than the tasks that take time but can easily be automated or add little visible value. </a:t>
            </a:r>
          </a:p>
          <a:p>
            <a:r>
              <a:rPr lang="en-US" b="1" dirty="0" smtClean="0">
                <a:solidFill>
                  <a:srgbClr val="CA2F31"/>
                </a:solidFill>
              </a:rPr>
              <a:t>Development Accelerators</a:t>
            </a:r>
            <a:r>
              <a:rPr lang="en-US" dirty="0" smtClean="0"/>
              <a:t>: reusable code modules and guides that enable developers to focus on what’s unique about an application, not reinventing the wheel.  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5893623" y="2210534"/>
            <a:ext cx="1170983" cy="1158937"/>
            <a:chOff x="3618510" y="2119475"/>
            <a:chExt cx="1170983" cy="1158937"/>
          </a:xfrm>
        </p:grpSpPr>
        <p:sp>
          <p:nvSpPr>
            <p:cNvPr id="7" name="TextBox 6"/>
            <p:cNvSpPr txBox="1"/>
            <p:nvPr/>
          </p:nvSpPr>
          <p:spPr>
            <a:xfrm>
              <a:off x="3618510" y="2119475"/>
              <a:ext cx="117098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Avenir Black"/>
                  <a:cs typeface="Avenir Black"/>
                </a:rPr>
                <a:t>UI Developer</a:t>
              </a:r>
              <a:endParaRPr lang="en-US" sz="1100" dirty="0">
                <a:latin typeface="Avenir Black"/>
                <a:cs typeface="Avenir Black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94051" y="2414744"/>
              <a:ext cx="747844" cy="863668"/>
            </a:xfrm>
            <a:prstGeom prst="rect">
              <a:avLst/>
            </a:prstGeom>
            <a:ln w="28575" cmpd="sng">
              <a:noFill/>
            </a:ln>
          </p:spPr>
        </p:pic>
      </p:grpSp>
      <p:grpSp>
        <p:nvGrpSpPr>
          <p:cNvPr id="34" name="Group 33"/>
          <p:cNvGrpSpPr/>
          <p:nvPr/>
        </p:nvGrpSpPr>
        <p:grpSpPr>
          <a:xfrm>
            <a:off x="3787171" y="469688"/>
            <a:ext cx="2187514" cy="1641467"/>
            <a:chOff x="3787171" y="469688"/>
            <a:chExt cx="2187514" cy="1641467"/>
          </a:xfrm>
        </p:grpSpPr>
        <p:grpSp>
          <p:nvGrpSpPr>
            <p:cNvPr id="28" name="Group 27"/>
            <p:cNvGrpSpPr/>
            <p:nvPr/>
          </p:nvGrpSpPr>
          <p:grpSpPr>
            <a:xfrm>
              <a:off x="3787172" y="839020"/>
              <a:ext cx="2187513" cy="1272135"/>
              <a:chOff x="2948098" y="2026363"/>
              <a:chExt cx="2187513" cy="1272135"/>
            </a:xfrm>
          </p:grpSpPr>
          <p:sp>
            <p:nvSpPr>
              <p:cNvPr id="19" name="Rectangle 18"/>
              <p:cNvSpPr/>
              <p:nvPr/>
            </p:nvSpPr>
            <p:spPr>
              <a:xfrm>
                <a:off x="2948098" y="2026363"/>
                <a:ext cx="2187513" cy="127213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solidFill>
                    <a:schemeClr val="bg1"/>
                  </a:solidFill>
                  <a:latin typeface="Avenir Book"/>
                  <a:cs typeface="Avenir Book"/>
                </a:endParaRPr>
              </a:p>
            </p:txBody>
          </p:sp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4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37718" y="2275890"/>
                <a:ext cx="719489" cy="623301"/>
              </a:xfrm>
              <a:prstGeom prst="rect">
                <a:avLst/>
              </a:prstGeom>
            </p:spPr>
          </p:pic>
          <p:sp>
            <p:nvSpPr>
              <p:cNvPr id="21" name="Right Arrow 20"/>
              <p:cNvSpPr/>
              <p:nvPr/>
            </p:nvSpPr>
            <p:spPr>
              <a:xfrm>
                <a:off x="3670299" y="2400906"/>
                <a:ext cx="204380" cy="321583"/>
              </a:xfrm>
              <a:prstGeom prst="rightArrow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3964743" y="2267160"/>
                <a:ext cx="1035765" cy="1803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 smtClean="0">
                    <a:latin typeface="Avenir Book"/>
                    <a:cs typeface="Avenir Book"/>
                  </a:rPr>
                  <a:t>Model</a:t>
                </a:r>
                <a:endParaRPr lang="en-US" sz="1100" dirty="0">
                  <a:latin typeface="Avenir Book"/>
                  <a:cs typeface="Avenir Book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3964743" y="2469307"/>
                <a:ext cx="1035765" cy="1803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 smtClean="0">
                    <a:latin typeface="Avenir Book"/>
                    <a:cs typeface="Avenir Book"/>
                  </a:rPr>
                  <a:t>Route</a:t>
                </a:r>
                <a:endParaRPr lang="en-US" sz="1100" dirty="0">
                  <a:latin typeface="Avenir Book"/>
                  <a:cs typeface="Avenir Book"/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3964743" y="2671455"/>
                <a:ext cx="1035765" cy="1803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 smtClean="0">
                    <a:latin typeface="Avenir Book"/>
                    <a:cs typeface="Avenir Book"/>
                  </a:rPr>
                  <a:t>View</a:t>
                </a:r>
                <a:endParaRPr lang="en-US" sz="1100" dirty="0">
                  <a:latin typeface="Avenir Book"/>
                  <a:cs typeface="Avenir Book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3065082" y="2948469"/>
                <a:ext cx="878082" cy="21467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 smtClean="0">
                    <a:latin typeface="Avenir Book"/>
                    <a:cs typeface="Avenir Book"/>
                  </a:rPr>
                  <a:t>Logger</a:t>
                </a:r>
                <a:endParaRPr lang="en-US" sz="1100" dirty="0">
                  <a:latin typeface="Avenir Book"/>
                  <a:cs typeface="Avenir Book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4159293" y="2953443"/>
                <a:ext cx="841215" cy="21467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 smtClean="0">
                    <a:latin typeface="Avenir Book"/>
                    <a:cs typeface="Avenir Book"/>
                  </a:rPr>
                  <a:t>Widgets</a:t>
                </a:r>
                <a:endParaRPr lang="en-US" sz="1100" dirty="0">
                  <a:latin typeface="Avenir Book"/>
                  <a:cs typeface="Avenir Book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3010042" y="2219535"/>
                <a:ext cx="2044507" cy="679655"/>
              </a:xfrm>
              <a:prstGeom prst="rect">
                <a:avLst/>
              </a:prstGeom>
              <a:noFill/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3787171" y="469688"/>
              <a:ext cx="218751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>
                  <a:latin typeface="Avenir Black"/>
                  <a:cs typeface="Avenir Black"/>
                </a:rPr>
                <a:t>Scaffolding</a:t>
              </a:r>
              <a:endParaRPr lang="en-US" dirty="0">
                <a:latin typeface="Avenir Black"/>
                <a:cs typeface="Avenir Black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434390" y="469688"/>
            <a:ext cx="26185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venir Black"/>
                <a:cs typeface="Avenir Black"/>
              </a:rPr>
              <a:t>Task Automation</a:t>
            </a:r>
            <a:endParaRPr lang="en-US" dirty="0">
              <a:latin typeface="Avenir Black"/>
              <a:cs typeface="Avenir Black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3787171" y="2729708"/>
            <a:ext cx="2187514" cy="1911898"/>
            <a:chOff x="3787171" y="2729708"/>
            <a:chExt cx="2187514" cy="1911898"/>
          </a:xfrm>
        </p:grpSpPr>
        <p:sp>
          <p:nvSpPr>
            <p:cNvPr id="30" name="Rectangle 29"/>
            <p:cNvSpPr/>
            <p:nvPr/>
          </p:nvSpPr>
          <p:spPr>
            <a:xfrm>
              <a:off x="3787172" y="3369471"/>
              <a:ext cx="2187513" cy="127213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4156" y="3452928"/>
              <a:ext cx="1449546" cy="326148"/>
            </a:xfrm>
            <a:prstGeom prst="rect">
              <a:avLst/>
            </a:prstGeom>
          </p:spPr>
        </p:pic>
        <p:sp>
          <p:nvSpPr>
            <p:cNvPr id="39" name="TextBox 38"/>
            <p:cNvSpPr txBox="1"/>
            <p:nvPr/>
          </p:nvSpPr>
          <p:spPr>
            <a:xfrm>
              <a:off x="3787171" y="2729708"/>
              <a:ext cx="218751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>
                  <a:latin typeface="Avenir Black"/>
                  <a:cs typeface="Avenir Black"/>
                </a:rPr>
                <a:t>Pre-configured Environments</a:t>
              </a:r>
              <a:endParaRPr lang="en-US" dirty="0">
                <a:latin typeface="Avenir Black"/>
                <a:cs typeface="Avenir Black"/>
              </a:endParaRPr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62091" y="3873500"/>
              <a:ext cx="284924" cy="284924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45800" y="3873500"/>
              <a:ext cx="752568" cy="257610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97547" y="3564198"/>
              <a:ext cx="496076" cy="429756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4156" y="4236841"/>
              <a:ext cx="354635" cy="354635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11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7862" y="4236840"/>
              <a:ext cx="331295" cy="33129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00854" y="3823863"/>
              <a:ext cx="584152" cy="412977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03817" y="4321376"/>
              <a:ext cx="270100" cy="2701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81568" y="4270593"/>
              <a:ext cx="315979" cy="297542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49939" y="4158424"/>
              <a:ext cx="376237" cy="376237"/>
            </a:xfrm>
            <a:prstGeom prst="rect">
              <a:avLst/>
            </a:prstGeom>
          </p:spPr>
        </p:pic>
      </p:grpSp>
      <p:sp>
        <p:nvSpPr>
          <p:cNvPr id="50" name="Left-Right Arrow 49"/>
          <p:cNvSpPr/>
          <p:nvPr/>
        </p:nvSpPr>
        <p:spPr>
          <a:xfrm rot="3254968">
            <a:off x="5569857" y="2336492"/>
            <a:ext cx="404827" cy="184323"/>
          </a:xfrm>
          <a:prstGeom prst="leftRight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Left-Right Arrow 50"/>
          <p:cNvSpPr/>
          <p:nvPr/>
        </p:nvSpPr>
        <p:spPr>
          <a:xfrm rot="18393191">
            <a:off x="5670638" y="3066389"/>
            <a:ext cx="404827" cy="184323"/>
          </a:xfrm>
          <a:prstGeom prst="leftRight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Left-Right Arrow 51"/>
          <p:cNvSpPr/>
          <p:nvPr/>
        </p:nvSpPr>
        <p:spPr>
          <a:xfrm rot="7383684">
            <a:off x="6769570" y="2312585"/>
            <a:ext cx="495187" cy="164092"/>
          </a:xfrm>
          <a:prstGeom prst="leftRight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6434390" y="921203"/>
            <a:ext cx="2618540" cy="1082026"/>
            <a:chOff x="6525460" y="795595"/>
            <a:chExt cx="2618540" cy="1082026"/>
          </a:xfrm>
        </p:grpSpPr>
        <p:sp>
          <p:nvSpPr>
            <p:cNvPr id="55" name="Rectangle 54"/>
            <p:cNvSpPr/>
            <p:nvPr/>
          </p:nvSpPr>
          <p:spPr>
            <a:xfrm>
              <a:off x="6525460" y="795595"/>
              <a:ext cx="2618540" cy="10820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5739" y="837526"/>
              <a:ext cx="594136" cy="594136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8203912" y="862924"/>
              <a:ext cx="867613" cy="2541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build</a:t>
              </a:r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8203912" y="1191869"/>
              <a:ext cx="867613" cy="2541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serve</a:t>
              </a:r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636386" y="862924"/>
              <a:ext cx="867613" cy="2541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analyze</a:t>
              </a:r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629622" y="1202911"/>
              <a:ext cx="867613" cy="2541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test</a:t>
              </a:r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15" name="Notched Right Arrow 14"/>
            <p:cNvSpPr/>
            <p:nvPr/>
          </p:nvSpPr>
          <p:spPr>
            <a:xfrm rot="20329340">
              <a:off x="8080140" y="951352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Notched Right Arrow 15"/>
            <p:cNvSpPr/>
            <p:nvPr/>
          </p:nvSpPr>
          <p:spPr>
            <a:xfrm rot="1270660" flipH="1">
              <a:off x="7520105" y="962949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Notched Right Arrow 16"/>
            <p:cNvSpPr/>
            <p:nvPr/>
          </p:nvSpPr>
          <p:spPr>
            <a:xfrm rot="20329340" flipH="1" flipV="1">
              <a:off x="7532805" y="1276210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Notched Right Arrow 17"/>
            <p:cNvSpPr/>
            <p:nvPr/>
          </p:nvSpPr>
          <p:spPr>
            <a:xfrm rot="1270660" flipV="1">
              <a:off x="8080140" y="1276210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629622" y="1558553"/>
              <a:ext cx="2441903" cy="2541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other common tasks</a:t>
              </a:r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54" name="Notched Right Arrow 53"/>
            <p:cNvSpPr/>
            <p:nvPr/>
          </p:nvSpPr>
          <p:spPr>
            <a:xfrm rot="16200000" flipH="1" flipV="1">
              <a:off x="7812206" y="1418658"/>
              <a:ext cx="107667" cy="109287"/>
            </a:xfrm>
            <a:prstGeom prst="notchedRightArrow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7" name="Left-Right Arrow 56"/>
          <p:cNvSpPr/>
          <p:nvPr/>
        </p:nvSpPr>
        <p:spPr>
          <a:xfrm rot="3206809" flipH="1">
            <a:off x="6809180" y="3059822"/>
            <a:ext cx="404827" cy="184323"/>
          </a:xfrm>
          <a:prstGeom prst="leftRight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6884012" y="2723140"/>
            <a:ext cx="21875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venir Black"/>
                <a:cs typeface="Avenir Black"/>
              </a:rPr>
              <a:t>Development Accelerators</a:t>
            </a:r>
            <a:endParaRPr lang="en-US" dirty="0">
              <a:latin typeface="Avenir Black"/>
              <a:cs typeface="Avenir Black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879208" y="3376039"/>
            <a:ext cx="2187513" cy="1272135"/>
            <a:chOff x="6879208" y="3376039"/>
            <a:chExt cx="2187513" cy="1272135"/>
          </a:xfrm>
        </p:grpSpPr>
        <p:sp>
          <p:nvSpPr>
            <p:cNvPr id="56" name="Rectangle 55"/>
            <p:cNvSpPr/>
            <p:nvPr/>
          </p:nvSpPr>
          <p:spPr>
            <a:xfrm>
              <a:off x="6879208" y="3376039"/>
              <a:ext cx="2187513" cy="127213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59" name="Flowchart: Document 41"/>
            <p:cNvSpPr/>
            <p:nvPr/>
          </p:nvSpPr>
          <p:spPr>
            <a:xfrm>
              <a:off x="6946310" y="3446707"/>
              <a:ext cx="977427" cy="426793"/>
            </a:xfrm>
            <a:prstGeom prst="flowChartDocument">
              <a:avLst/>
            </a:prstGeom>
            <a:solidFill>
              <a:srgbClr val="FF3333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Developer Guides</a:t>
              </a:r>
              <a:endParaRPr lang="en-US" sz="105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60" name="Flowchart: Document 41"/>
            <p:cNvSpPr/>
            <p:nvPr/>
          </p:nvSpPr>
          <p:spPr>
            <a:xfrm>
              <a:off x="8003028" y="3446707"/>
              <a:ext cx="977427" cy="426793"/>
            </a:xfrm>
            <a:prstGeom prst="flowChartDocument">
              <a:avLst/>
            </a:prstGeom>
            <a:solidFill>
              <a:srgbClr val="FF3333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Integration Docs</a:t>
              </a:r>
              <a:endParaRPr lang="en-US" sz="105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946310" y="3965201"/>
              <a:ext cx="2034145" cy="2541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  <a:latin typeface="Avenir Book"/>
                  <a:cs typeface="Avenir Book"/>
                </a:rPr>
                <a:t>P</a:t>
              </a:r>
              <a:r>
                <a:rPr lang="en-US" sz="110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re-Built Components</a:t>
              </a:r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46310" y="4291979"/>
              <a:ext cx="2034145" cy="254149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1"/>
                  </a:solidFill>
                  <a:latin typeface="Avenir Book"/>
                  <a:cs typeface="Avenir Book"/>
                </a:rPr>
                <a:t>Local Package Repository </a:t>
              </a:r>
              <a:endParaRPr lang="en-US" sz="1100" dirty="0">
                <a:solidFill>
                  <a:schemeClr val="bg1"/>
                </a:solidFill>
                <a:latin typeface="Avenir Book"/>
                <a:cs typeface="Avenir Boo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32667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 - Technolog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5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0" y="869938"/>
            <a:ext cx="6629399" cy="3703650"/>
          </a:xfrm>
        </p:spPr>
        <p:txBody>
          <a:bodyPr/>
          <a:lstStyle/>
          <a:p>
            <a:r>
              <a:rPr lang="en-US" dirty="0" smtClean="0"/>
              <a:t>Two distinct framework ecosystems supported: </a:t>
            </a:r>
            <a:r>
              <a:rPr lang="en-US" b="1" dirty="0" smtClean="0">
                <a:solidFill>
                  <a:srgbClr val="C91C15"/>
                </a:solidFill>
              </a:rPr>
              <a:t>Backbone/Marionette</a:t>
            </a:r>
            <a:r>
              <a:rPr lang="en-US" dirty="0" smtClean="0"/>
              <a:t> and </a:t>
            </a:r>
            <a:r>
              <a:rPr lang="en-US" b="1" dirty="0" smtClean="0">
                <a:solidFill>
                  <a:srgbClr val="C91C15"/>
                </a:solidFill>
              </a:rPr>
              <a:t>Angular.js</a:t>
            </a:r>
            <a:r>
              <a:rPr lang="en-US" dirty="0" smtClean="0"/>
              <a:t>, each with a complete reference architecture </a:t>
            </a:r>
          </a:p>
          <a:p>
            <a:r>
              <a:rPr lang="en-US" dirty="0" smtClean="0"/>
              <a:t>Our component-based reference architectures contain pre-integrated best-of-breed open source components selected through rigorous analysis:</a:t>
            </a:r>
          </a:p>
          <a:p>
            <a:pPr lvl="1"/>
            <a:r>
              <a:rPr lang="en-US" dirty="0" smtClean="0"/>
              <a:t>Reference application builds</a:t>
            </a:r>
          </a:p>
          <a:p>
            <a:pPr lvl="1"/>
            <a:r>
              <a:rPr lang="en-US" dirty="0" smtClean="0"/>
              <a:t>Developer productivity analysis</a:t>
            </a:r>
          </a:p>
          <a:p>
            <a:pPr lvl="1"/>
            <a:r>
              <a:rPr lang="en-US" dirty="0" smtClean="0"/>
              <a:t>Ease of integration with other components</a:t>
            </a:r>
          </a:p>
          <a:p>
            <a:pPr lvl="1"/>
            <a:r>
              <a:rPr lang="en-US" dirty="0" smtClean="0"/>
              <a:t>Performance</a:t>
            </a:r>
          </a:p>
          <a:p>
            <a:pPr lvl="1"/>
            <a:r>
              <a:rPr lang="en-US" u="sng" dirty="0" smtClean="0"/>
              <a:t>Real project experience</a:t>
            </a:r>
            <a:endParaRPr lang="en-US" u="sng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5205" y="1202879"/>
            <a:ext cx="887768" cy="12135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7347" y="2750125"/>
            <a:ext cx="1208535" cy="12085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7490" y="1354675"/>
            <a:ext cx="1146460" cy="114646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6739465" y="2585801"/>
            <a:ext cx="2048934" cy="0"/>
          </a:xfrm>
          <a:prstGeom prst="line">
            <a:avLst/>
          </a:prstGeom>
          <a:ln w="44450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73882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iver - Methodolog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6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0" y="1044978"/>
            <a:ext cx="4842933" cy="3528610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Utilize state of the industry automation and continuous integration / continuous delivery to reduce delivery timeline and cost</a:t>
            </a:r>
          </a:p>
          <a:p>
            <a:r>
              <a:rPr lang="en-US" dirty="0" smtClean="0"/>
              <a:t>Marry quality-first engineering principles</a:t>
            </a:r>
            <a:r>
              <a:rPr lang="en-US" dirty="0"/>
              <a:t> </a:t>
            </a:r>
            <a:r>
              <a:rPr lang="en-US" dirty="0" smtClean="0"/>
              <a:t>and lean DevOps with Accenture’s </a:t>
            </a:r>
            <a:r>
              <a:rPr lang="en-US" dirty="0"/>
              <a:t>battle-proven </a:t>
            </a:r>
            <a:r>
              <a:rPr lang="en-US" dirty="0" smtClean="0"/>
              <a:t>agile delivery methods to produce high quality</a:t>
            </a:r>
          </a:p>
          <a:p>
            <a:r>
              <a:rPr lang="en-US" dirty="0" smtClean="0"/>
              <a:t>Focus on working hand-in-hand with UX and creative teams in a unified agile process using prototype-driven development  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685146" y="1195566"/>
            <a:ext cx="2635510" cy="2842652"/>
            <a:chOff x="5947714" y="1195566"/>
            <a:chExt cx="2635510" cy="2842652"/>
          </a:xfrm>
        </p:grpSpPr>
        <p:sp>
          <p:nvSpPr>
            <p:cNvPr id="12" name="Oval 11"/>
            <p:cNvSpPr/>
            <p:nvPr/>
          </p:nvSpPr>
          <p:spPr>
            <a:xfrm>
              <a:off x="6631705" y="2762942"/>
              <a:ext cx="1274095" cy="1275276"/>
            </a:xfrm>
            <a:prstGeom prst="ellipse">
              <a:avLst/>
            </a:prstGeom>
            <a:solidFill>
              <a:srgbClr val="C91C15"/>
            </a:solidFill>
            <a:ln w="28575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DIN-Medium"/>
                <a:cs typeface="DIN-Medium"/>
              </a:endParaRPr>
            </a:p>
          </p:txBody>
        </p:sp>
        <p:sp>
          <p:nvSpPr>
            <p:cNvPr id="13" name="Half Frame 12"/>
            <p:cNvSpPr>
              <a:spLocks noChangeAspect="1"/>
            </p:cNvSpPr>
            <p:nvPr/>
          </p:nvSpPr>
          <p:spPr>
            <a:xfrm>
              <a:off x="6848407" y="3586668"/>
              <a:ext cx="288600" cy="324875"/>
            </a:xfrm>
            <a:prstGeom prst="halfFrame">
              <a:avLst>
                <a:gd name="adj1" fmla="val 6605"/>
                <a:gd name="adj2" fmla="val 5202"/>
              </a:avLst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DIN-Medium"/>
                <a:cs typeface="DIN-Medium"/>
              </a:endParaRPr>
            </a:p>
          </p:txBody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7028542" y="3169782"/>
              <a:ext cx="480610" cy="481056"/>
            </a:xfrm>
            <a:prstGeom prst="ellipse">
              <a:avLst/>
            </a:prstGeom>
            <a:solidFill>
              <a:srgbClr val="262626"/>
            </a:solidFill>
            <a:ln w="1905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600" b="1" dirty="0" smtClean="0">
                  <a:solidFill>
                    <a:schemeClr val="bg1"/>
                  </a:solidFill>
                  <a:latin typeface="DIN-Medium"/>
                  <a:cs typeface="DIN-Medium"/>
                </a:rPr>
                <a:t>Dev</a:t>
              </a:r>
              <a:r>
                <a:rPr lang="en-US" sz="600" b="1" dirty="0">
                  <a:solidFill>
                    <a:schemeClr val="bg1"/>
                  </a:solidFill>
                  <a:latin typeface="DIN-Medium"/>
                  <a:cs typeface="DIN-Medium"/>
                </a:rPr>
                <a:t/>
              </a:r>
              <a:br>
                <a:rPr lang="en-US" sz="600" b="1" dirty="0">
                  <a:solidFill>
                    <a:schemeClr val="bg1"/>
                  </a:solidFill>
                  <a:latin typeface="DIN-Medium"/>
                  <a:cs typeface="DIN-Medium"/>
                </a:rPr>
              </a:br>
              <a:r>
                <a:rPr lang="en-US" sz="600" b="1" dirty="0">
                  <a:solidFill>
                    <a:schemeClr val="bg1"/>
                  </a:solidFill>
                  <a:latin typeface="DIN-Medium"/>
                  <a:cs typeface="DIN-Medium"/>
                </a:rPr>
                <a:t>Sprint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68169" y="2992686"/>
              <a:ext cx="81091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302483">
                <a:spcAft>
                  <a:spcPts val="281"/>
                </a:spcAft>
                <a:buSzPct val="100000"/>
              </a:pPr>
              <a:r>
                <a:rPr lang="en-US" sz="600" dirty="0">
                  <a:solidFill>
                    <a:schemeClr val="bg1"/>
                  </a:solidFill>
                  <a:latin typeface="DIN-Medium"/>
                  <a:cs typeface="DIN-Medium"/>
                </a:rPr>
                <a:t>Development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976679" y="3715175"/>
              <a:ext cx="642002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302483">
                <a:spcAft>
                  <a:spcPts val="281"/>
                </a:spcAft>
                <a:buSzPct val="100000"/>
              </a:pPr>
              <a:r>
                <a:rPr lang="en-US" sz="600" dirty="0">
                  <a:solidFill>
                    <a:schemeClr val="bg1"/>
                  </a:solidFill>
                  <a:latin typeface="DIN-Medium"/>
                  <a:cs typeface="DIN-Medium"/>
                </a:rPr>
                <a:t>QA Cycles</a:t>
              </a:r>
            </a:p>
          </p:txBody>
        </p:sp>
        <p:sp>
          <p:nvSpPr>
            <p:cNvPr id="17" name="Half Frame 16"/>
            <p:cNvSpPr>
              <a:spLocks noChangeAspect="1"/>
            </p:cNvSpPr>
            <p:nvPr/>
          </p:nvSpPr>
          <p:spPr>
            <a:xfrm rot="10800000">
              <a:off x="7446893" y="2930402"/>
              <a:ext cx="288600" cy="337876"/>
            </a:xfrm>
            <a:prstGeom prst="halfFrame">
              <a:avLst>
                <a:gd name="adj1" fmla="val 6605"/>
                <a:gd name="adj2" fmla="val 5202"/>
              </a:avLst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DIN-Medium"/>
                <a:cs typeface="DIN-Medium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6631705" y="1195566"/>
              <a:ext cx="1274095" cy="1275276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262626"/>
                </a:solidFill>
                <a:latin typeface="DIN-Medium"/>
                <a:cs typeface="DIN-Medium"/>
              </a:endParaRPr>
            </a:p>
          </p:txBody>
        </p:sp>
        <p:sp>
          <p:nvSpPr>
            <p:cNvPr id="20" name="Half Frame 19"/>
            <p:cNvSpPr>
              <a:spLocks noChangeAspect="1"/>
            </p:cNvSpPr>
            <p:nvPr/>
          </p:nvSpPr>
          <p:spPr>
            <a:xfrm>
              <a:off x="6848406" y="2019290"/>
              <a:ext cx="288600" cy="314462"/>
            </a:xfrm>
            <a:prstGeom prst="halfFrame">
              <a:avLst>
                <a:gd name="adj1" fmla="val 6605"/>
                <a:gd name="adj2" fmla="val 5202"/>
              </a:avLst>
            </a:prstGeom>
            <a:solidFill>
              <a:schemeClr val="bg1"/>
            </a:solidFill>
            <a:ln w="19050" cmpd="sng"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DIN-Medium"/>
                <a:cs typeface="DIN-Medium"/>
              </a:endParaRPr>
            </a:p>
          </p:txBody>
        </p:sp>
        <p:sp>
          <p:nvSpPr>
            <p:cNvPr id="21" name="Oval 20"/>
            <p:cNvSpPr>
              <a:spLocks noChangeAspect="1"/>
            </p:cNvSpPr>
            <p:nvPr/>
          </p:nvSpPr>
          <p:spPr>
            <a:xfrm>
              <a:off x="7028542" y="1602406"/>
              <a:ext cx="480610" cy="481056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600" b="1" dirty="0">
                  <a:solidFill>
                    <a:schemeClr val="bg1"/>
                  </a:solidFill>
                  <a:latin typeface="DIN-Medium"/>
                  <a:cs typeface="DIN-Medium"/>
                </a:rPr>
                <a:t>UX</a:t>
              </a:r>
              <a:br>
                <a:rPr lang="en-US" sz="600" b="1" dirty="0">
                  <a:solidFill>
                    <a:schemeClr val="bg1"/>
                  </a:solidFill>
                  <a:latin typeface="DIN-Medium"/>
                  <a:cs typeface="DIN-Medium"/>
                </a:rPr>
              </a:br>
              <a:r>
                <a:rPr lang="en-US" sz="600" b="1" dirty="0">
                  <a:solidFill>
                    <a:schemeClr val="bg1"/>
                  </a:solidFill>
                  <a:latin typeface="DIN-Medium"/>
                  <a:cs typeface="DIN-Medium"/>
                </a:rPr>
                <a:t>Sprint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868169" y="1425308"/>
              <a:ext cx="810919" cy="923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0" tIns="0" rIns="0" bIns="0" rtlCol="0">
              <a:spAutoFit/>
            </a:bodyPr>
            <a:lstStyle/>
            <a:p>
              <a:pPr defTabSz="302483">
                <a:spcAft>
                  <a:spcPts val="281"/>
                </a:spcAft>
                <a:buSzPct val="100000"/>
              </a:pPr>
              <a:r>
                <a:rPr lang="en-US" sz="600" dirty="0">
                  <a:solidFill>
                    <a:srgbClr val="262626"/>
                  </a:solidFill>
                  <a:latin typeface="DIN-Medium"/>
                  <a:cs typeface="DIN-Medium"/>
                </a:rPr>
                <a:t>Interaction Design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976679" y="2147799"/>
              <a:ext cx="642002" cy="923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 defTabSz="302483">
                <a:spcAft>
                  <a:spcPts val="281"/>
                </a:spcAft>
                <a:buSzPct val="100000"/>
              </a:pPr>
              <a:r>
                <a:rPr lang="en-US" sz="600" dirty="0">
                  <a:solidFill>
                    <a:srgbClr val="262626"/>
                  </a:solidFill>
                  <a:latin typeface="DIN-Medium"/>
                  <a:cs typeface="DIN-Medium"/>
                </a:rPr>
                <a:t>Visual Design</a:t>
              </a:r>
            </a:p>
          </p:txBody>
        </p:sp>
        <p:sp>
          <p:nvSpPr>
            <p:cNvPr id="24" name="Half Frame 23"/>
            <p:cNvSpPr>
              <a:spLocks noChangeAspect="1"/>
            </p:cNvSpPr>
            <p:nvPr/>
          </p:nvSpPr>
          <p:spPr>
            <a:xfrm rot="10800000">
              <a:off x="7446892" y="1374997"/>
              <a:ext cx="288600" cy="325900"/>
            </a:xfrm>
            <a:prstGeom prst="halfFrame">
              <a:avLst>
                <a:gd name="adj1" fmla="val 6605"/>
                <a:gd name="adj2" fmla="val 5202"/>
              </a:avLst>
            </a:prstGeom>
            <a:solidFill>
              <a:schemeClr val="bg1"/>
            </a:solidFill>
            <a:ln w="19050" cmpd="sng"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DIN-Medium"/>
                <a:cs typeface="DIN-Medium"/>
              </a:endParaRPr>
            </a:p>
          </p:txBody>
        </p:sp>
        <p:sp>
          <p:nvSpPr>
            <p:cNvPr id="26" name="Circular Arrow 25"/>
            <p:cNvSpPr/>
            <p:nvPr/>
          </p:nvSpPr>
          <p:spPr>
            <a:xfrm rot="16200000" flipV="1">
              <a:off x="7391233" y="1971808"/>
              <a:ext cx="1016000" cy="1367982"/>
            </a:xfrm>
            <a:prstGeom prst="circular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" panose="020F0502020204030204" pitchFamily="34" charset="0"/>
              </a:endParaRPr>
            </a:p>
          </p:txBody>
        </p:sp>
        <p:sp>
          <p:nvSpPr>
            <p:cNvPr id="27" name="Circular Arrow 26"/>
            <p:cNvSpPr/>
            <p:nvPr/>
          </p:nvSpPr>
          <p:spPr>
            <a:xfrm rot="16200000" flipH="1">
              <a:off x="6123705" y="1971808"/>
              <a:ext cx="1016000" cy="1367982"/>
            </a:xfrm>
            <a:prstGeom prst="circular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583177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457596"/>
          </a:xfrm>
        </p:spPr>
        <p:txBody>
          <a:bodyPr/>
          <a:lstStyle/>
          <a:p>
            <a:r>
              <a:rPr lang="en-US" dirty="0" smtClean="0"/>
              <a:t>Deliver – Everyone is Agile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7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1" y="1044978"/>
            <a:ext cx="4250266" cy="3528610"/>
          </a:xfrm>
        </p:spPr>
        <p:txBody>
          <a:bodyPr>
            <a:normAutofit/>
          </a:bodyPr>
          <a:lstStyle/>
          <a:p>
            <a:r>
              <a:rPr lang="en-US" dirty="0" smtClean="0"/>
              <a:t>NOT a traditional agency model where creative takes up 70% of the time and development and QA are an afterthought</a:t>
            </a:r>
          </a:p>
          <a:p>
            <a:r>
              <a:rPr lang="en-US" dirty="0" smtClean="0"/>
              <a:t>Fully integrated agile processes across UX, architecture, development, functional and QA: leveraging Accenture’s integrated capabilities or working with a partner of your choosing</a:t>
            </a:r>
          </a:p>
          <a:p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121783604"/>
              </p:ext>
            </p:extLst>
          </p:nvPr>
        </p:nvGraphicFramePr>
        <p:xfrm>
          <a:off x="4812844" y="782713"/>
          <a:ext cx="4164625" cy="969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4504448" y="708266"/>
            <a:ext cx="4597217" cy="1074945"/>
            <a:chOff x="4474308" y="996133"/>
            <a:chExt cx="4597217" cy="1074945"/>
          </a:xfrm>
          <a:effectLst/>
        </p:grpSpPr>
        <p:sp>
          <p:nvSpPr>
            <p:cNvPr id="8" name="Oval 7"/>
            <p:cNvSpPr/>
            <p:nvPr/>
          </p:nvSpPr>
          <p:spPr>
            <a:xfrm>
              <a:off x="4474308" y="996133"/>
              <a:ext cx="4597217" cy="1074945"/>
            </a:xfrm>
            <a:prstGeom prst="ellipse">
              <a:avLst/>
            </a:prstGeom>
            <a:noFill/>
            <a:ln w="63500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Connector 8"/>
            <p:cNvCxnSpPr>
              <a:stCxn id="8" idx="1"/>
              <a:endCxn id="8" idx="5"/>
            </p:cNvCxnSpPr>
            <p:nvPr/>
          </p:nvCxnSpPr>
          <p:spPr>
            <a:xfrm>
              <a:off x="5147555" y="1153555"/>
              <a:ext cx="3250723" cy="760101"/>
            </a:xfrm>
            <a:prstGeom prst="line">
              <a:avLst/>
            </a:prstGeom>
            <a:ln w="603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500729601"/>
              </p:ext>
            </p:extLst>
          </p:nvPr>
        </p:nvGraphicFramePr>
        <p:xfrm>
          <a:off x="4707467" y="1888020"/>
          <a:ext cx="4217662" cy="27076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443830668"/>
              </p:ext>
            </p:extLst>
          </p:nvPr>
        </p:nvGraphicFramePr>
        <p:xfrm>
          <a:off x="5374362" y="2296234"/>
          <a:ext cx="2959476" cy="18998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45979666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Ops - Technolog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8</a:t>
            </a:fld>
            <a:endParaRPr lang="en-US"/>
          </a:p>
        </p:txBody>
      </p:sp>
      <p:sp>
        <p:nvSpPr>
          <p:cNvPr id="88" name="TextBox 87"/>
          <p:cNvSpPr txBox="1"/>
          <p:nvPr/>
        </p:nvSpPr>
        <p:spPr>
          <a:xfrm>
            <a:off x="0" y="662443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smtClean="0">
                <a:solidFill>
                  <a:srgbClr val="CC0000"/>
                </a:solidFill>
                <a:latin typeface="Avenir Next Regular"/>
                <a:cs typeface="Avenir Next Regular"/>
              </a:rPr>
              <a:t>Modern Web Architecture requires a journey toward the next generation of agile development methods, DevOps capabilities, and quality-first engineering principles</a:t>
            </a:r>
            <a:endParaRPr lang="en-US" sz="1400" i="1" dirty="0">
              <a:solidFill>
                <a:srgbClr val="CC0000"/>
              </a:solidFill>
              <a:latin typeface="Avenir Next Regular"/>
              <a:cs typeface="Avenir Next Regular"/>
            </a:endParaRP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8537" y="1403656"/>
            <a:ext cx="551107" cy="458131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5096" y="1494525"/>
            <a:ext cx="464414" cy="360301"/>
          </a:xfrm>
          <a:prstGeom prst="rect">
            <a:avLst/>
          </a:prstGeom>
        </p:spPr>
      </p:pic>
      <p:sp>
        <p:nvSpPr>
          <p:cNvPr id="101" name="TextBox 100"/>
          <p:cNvSpPr txBox="1"/>
          <p:nvPr/>
        </p:nvSpPr>
        <p:spPr>
          <a:xfrm>
            <a:off x="269240" y="2145086"/>
            <a:ext cx="1383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Developer cuts feature branch, writes tests, writes code, and submits for review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4812933" y="1348327"/>
            <a:ext cx="4045231" cy="10912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03" name="Down Arrow 102"/>
          <p:cNvSpPr/>
          <p:nvPr/>
        </p:nvSpPr>
        <p:spPr bwMode="auto">
          <a:xfrm rot="5400000" flipV="1">
            <a:off x="1602894" y="1548370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5814773" y="1854826"/>
            <a:ext cx="1632777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Grunt runs automated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mocha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behavior with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chai</a:t>
            </a:r>
            <a:r>
              <a:rPr lang="en-US" sz="8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assertions and unit tests via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phantomjs</a:t>
            </a:r>
            <a:r>
              <a:rPr lang="en-US" sz="8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&amp; </a:t>
            </a:r>
            <a:r>
              <a:rPr lang="en-US" sz="8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casperjs</a:t>
            </a:r>
            <a:endParaRPr lang="en-US" sz="800" b="1" dirty="0">
              <a:solidFill>
                <a:schemeClr val="accent4">
                  <a:lumMod val="7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4784793" y="1906795"/>
            <a:ext cx="10945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Grunt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provides Automated task scripting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7851532" y="2551789"/>
            <a:ext cx="786636" cy="918283"/>
            <a:chOff x="8210070" y="2763089"/>
            <a:chExt cx="933930" cy="1631111"/>
          </a:xfrm>
        </p:grpSpPr>
        <p:sp>
          <p:nvSpPr>
            <p:cNvPr id="107" name="Down Arrow 106"/>
            <p:cNvSpPr/>
            <p:nvPr/>
          </p:nvSpPr>
          <p:spPr bwMode="auto">
            <a:xfrm rot="10800000" flipV="1">
              <a:off x="8210070" y="2763093"/>
              <a:ext cx="933930" cy="1631107"/>
            </a:xfrm>
            <a:prstGeom prst="downArrow">
              <a:avLst/>
            </a:prstGeom>
            <a:solidFill>
              <a:srgbClr val="CC0000"/>
            </a:solidFill>
            <a:ln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 rot="5400000">
              <a:off x="7975967" y="3188317"/>
              <a:ext cx="1398566" cy="548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latin typeface="Avenir Next Regular"/>
                  <a:cs typeface="Avenir Next Regular"/>
                </a:rPr>
                <a:t>Passes Automated QA</a:t>
              </a:r>
              <a:endParaRPr lang="en-US" sz="800" dirty="0">
                <a:solidFill>
                  <a:schemeClr val="bg1"/>
                </a:solidFill>
                <a:latin typeface="Avenir Next Regular"/>
                <a:cs typeface="Avenir Next Regular"/>
              </a:endParaRPr>
            </a:p>
          </p:txBody>
        </p:sp>
      </p:grpSp>
      <p:pic>
        <p:nvPicPr>
          <p:cNvPr id="109" name="Picture 2" descr="http://connect.icrossing.co.uk/wp-content/uploads/2013/04/DesktopMobile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35400" y="3530018"/>
            <a:ext cx="1717532" cy="518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0" name="Down Arrow 109"/>
          <p:cNvSpPr/>
          <p:nvPr/>
        </p:nvSpPr>
        <p:spPr bwMode="auto">
          <a:xfrm rot="16200000" flipV="1">
            <a:off x="7444279" y="3567598"/>
            <a:ext cx="477217" cy="460001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039630" y="1515579"/>
            <a:ext cx="7817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Jenkins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begins automated build &amp; deploy proces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447551" y="1931303"/>
            <a:ext cx="141061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JS Hint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runs code quality tests and </a:t>
            </a:r>
            <a:r>
              <a:rPr lang="en-US" sz="900" b="1" dirty="0">
                <a:solidFill>
                  <a:srgbClr val="C91C15"/>
                </a:solidFill>
                <a:latin typeface="Avenir Next Regular"/>
                <a:cs typeface="Avenir Next Regular"/>
              </a:rPr>
              <a:t>P</a:t>
            </a:r>
            <a:r>
              <a:rPr lang="en-US" sz="9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lato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 runs code analyse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6904" y="3498779"/>
            <a:ext cx="828980" cy="643139"/>
          </a:xfrm>
          <a:prstGeom prst="rect">
            <a:avLst/>
          </a:prstGeom>
          <a:ln w="28575" cmpd="sng">
            <a:solidFill>
              <a:srgbClr val="CC0000"/>
            </a:solidFill>
          </a:ln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443" y="1395871"/>
            <a:ext cx="813002" cy="701813"/>
          </a:xfrm>
          <a:prstGeom prst="rect">
            <a:avLst/>
          </a:prstGeom>
          <a:ln w="28575" cmpd="sng">
            <a:solidFill>
              <a:srgbClr val="CC0000"/>
            </a:solidFill>
          </a:ln>
        </p:spPr>
      </p:pic>
      <p:sp>
        <p:nvSpPr>
          <p:cNvPr id="115" name="TextBox 114"/>
          <p:cNvSpPr txBox="1"/>
          <p:nvPr/>
        </p:nvSpPr>
        <p:spPr>
          <a:xfrm>
            <a:off x="596472" y="4048356"/>
            <a:ext cx="105580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Feedback is passed to developer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16" name="Down Arrow 115"/>
          <p:cNvSpPr/>
          <p:nvPr/>
        </p:nvSpPr>
        <p:spPr bwMode="auto">
          <a:xfrm rot="16200000" flipV="1">
            <a:off x="1607699" y="3445082"/>
            <a:ext cx="477217" cy="494032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231993" y="4209049"/>
            <a:ext cx="29038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QA Testers test on multiple devices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18" name="Down Arrow 117"/>
          <p:cNvSpPr/>
          <p:nvPr/>
        </p:nvSpPr>
        <p:spPr bwMode="auto">
          <a:xfrm flipV="1">
            <a:off x="808552" y="2958560"/>
            <a:ext cx="615114" cy="352155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6059431" y="1492770"/>
            <a:ext cx="444654" cy="318409"/>
            <a:chOff x="6673844" y="1481449"/>
            <a:chExt cx="805577" cy="723951"/>
          </a:xfrm>
        </p:grpSpPr>
        <p:sp>
          <p:nvSpPr>
            <p:cNvPr id="120" name="Oval 119"/>
            <p:cNvSpPr/>
            <p:nvPr/>
          </p:nvSpPr>
          <p:spPr>
            <a:xfrm>
              <a:off x="6722114" y="1481449"/>
              <a:ext cx="694686" cy="723951"/>
            </a:xfrm>
            <a:prstGeom prst="ellipse">
              <a:avLst/>
            </a:prstGeom>
            <a:solidFill>
              <a:srgbClr val="99663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6673844" y="1647871"/>
              <a:ext cx="805577" cy="419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b="1" dirty="0" smtClean="0">
                  <a:solidFill>
                    <a:schemeClr val="bg1">
                      <a:lumMod val="95000"/>
                    </a:schemeClr>
                  </a:solidFill>
                  <a:latin typeface="Avenir Next Regular"/>
                  <a:cs typeface="Avenir Next Regular"/>
                </a:rPr>
                <a:t>mocha</a:t>
              </a:r>
              <a:endParaRPr lang="en-US" sz="600" b="1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endParaRPr>
            </a:p>
          </p:txBody>
        </p:sp>
      </p:grpSp>
      <p:sp>
        <p:nvSpPr>
          <p:cNvPr id="122" name="Down Arrow 121"/>
          <p:cNvSpPr/>
          <p:nvPr/>
        </p:nvSpPr>
        <p:spPr bwMode="auto">
          <a:xfrm rot="5400000" flipV="1">
            <a:off x="7396401" y="1589760"/>
            <a:ext cx="215600" cy="119125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123" name="Picture 12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0428" y="1471531"/>
            <a:ext cx="434781" cy="365155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7585570" y="4048356"/>
            <a:ext cx="132904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ode is packaged &amp; readied for deploy by </a:t>
            </a:r>
            <a:r>
              <a:rPr lang="en-US" sz="10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Grunt</a:t>
            </a:r>
            <a:endParaRPr lang="en-US" sz="1000" b="1" dirty="0">
              <a:solidFill>
                <a:schemeClr val="accent4">
                  <a:lumMod val="7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1618175" y="2079232"/>
            <a:ext cx="13673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heck-in merged to </a:t>
            </a:r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Phabricator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for pre-commit review by senior developer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126" name="Picture 12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3327" y="3659660"/>
            <a:ext cx="351882" cy="376547"/>
          </a:xfrm>
          <a:prstGeom prst="rect">
            <a:avLst/>
          </a:prstGeom>
        </p:spPr>
      </p:pic>
      <p:sp>
        <p:nvSpPr>
          <p:cNvPr id="127" name="TextBox 126"/>
          <p:cNvSpPr txBox="1"/>
          <p:nvPr/>
        </p:nvSpPr>
        <p:spPr>
          <a:xfrm>
            <a:off x="5650464" y="4157951"/>
            <a:ext cx="18474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ode is deployed to environments by </a:t>
            </a:r>
            <a:r>
              <a:rPr lang="en-US" sz="10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Jenkins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via </a:t>
            </a:r>
            <a:r>
              <a:rPr lang="en-US" sz="1000" b="1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Docker</a:t>
            </a:r>
            <a:endParaRPr lang="en-US" sz="1000" b="1" dirty="0">
              <a:solidFill>
                <a:srgbClr val="CA2F31"/>
              </a:solidFill>
              <a:latin typeface="Avenir Next Regular"/>
              <a:cs typeface="Avenir Next Regular"/>
            </a:endParaRP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0587" y="3500782"/>
            <a:ext cx="699957" cy="581867"/>
          </a:xfrm>
          <a:prstGeom prst="rect">
            <a:avLst/>
          </a:prstGeom>
        </p:spPr>
      </p:pic>
      <p:sp>
        <p:nvSpPr>
          <p:cNvPr id="129" name="Down Arrow 128"/>
          <p:cNvSpPr/>
          <p:nvPr/>
        </p:nvSpPr>
        <p:spPr bwMode="auto">
          <a:xfrm rot="16200000" flipV="1">
            <a:off x="5230836" y="3630641"/>
            <a:ext cx="477217" cy="333917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130" name="Picture 12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5199" y="1574848"/>
            <a:ext cx="589306" cy="190917"/>
          </a:xfrm>
          <a:prstGeom prst="rect">
            <a:avLst/>
          </a:prstGeom>
        </p:spPr>
      </p:pic>
      <p:sp>
        <p:nvSpPr>
          <p:cNvPr id="131" name="Down Arrow 130"/>
          <p:cNvSpPr/>
          <p:nvPr/>
        </p:nvSpPr>
        <p:spPr bwMode="auto">
          <a:xfrm rot="5400000" flipV="1">
            <a:off x="2742708" y="1561583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132" name="Down Arrow 131"/>
          <p:cNvSpPr/>
          <p:nvPr/>
        </p:nvSpPr>
        <p:spPr bwMode="auto">
          <a:xfrm rot="5400000" flipV="1">
            <a:off x="3768248" y="1551030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2919796" y="1909665"/>
            <a:ext cx="9883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Once code review is approved, </a:t>
            </a:r>
            <a:r>
              <a:rPr lang="en-US" sz="900" b="1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git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  <a:latin typeface="Avenir Next Regular"/>
                <a:cs typeface="Avenir Next Regular"/>
              </a:rPr>
              <a:t>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is used to push the code update to development branch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134" name="Picture 13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4176" y="1370193"/>
            <a:ext cx="394352" cy="342660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>
          <a:blip r:embed="rId12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2863" y="1637729"/>
            <a:ext cx="208643" cy="255979"/>
          </a:xfrm>
          <a:prstGeom prst="rect">
            <a:avLst/>
          </a:prstGeom>
        </p:spPr>
      </p:pic>
      <p:pic>
        <p:nvPicPr>
          <p:cNvPr id="136" name="Picture 135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91190" y="1426431"/>
            <a:ext cx="866252" cy="582443"/>
          </a:xfrm>
          <a:prstGeom prst="rect">
            <a:avLst/>
          </a:prstGeom>
        </p:spPr>
      </p:pic>
      <p:pic>
        <p:nvPicPr>
          <p:cNvPr id="137" name="Picture 136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993" y="3530018"/>
            <a:ext cx="869658" cy="434829"/>
          </a:xfrm>
          <a:prstGeom prst="rect">
            <a:avLst/>
          </a:prstGeom>
        </p:spPr>
      </p:pic>
      <p:pic>
        <p:nvPicPr>
          <p:cNvPr id="138" name="Picture 137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4773" y="3530018"/>
            <a:ext cx="1053862" cy="594587"/>
          </a:xfrm>
          <a:prstGeom prst="rect">
            <a:avLst/>
          </a:prstGeom>
        </p:spPr>
      </p:pic>
      <p:sp>
        <p:nvSpPr>
          <p:cNvPr id="139" name="Down Arrow 138"/>
          <p:cNvSpPr/>
          <p:nvPr/>
        </p:nvSpPr>
        <p:spPr bwMode="auto">
          <a:xfrm rot="5400000" flipV="1">
            <a:off x="5667187" y="1561583"/>
            <a:ext cx="337701" cy="238930"/>
          </a:xfrm>
          <a:prstGeom prst="down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Avenir Next Regular"/>
              <a:cs typeface="Avenir Next Regular"/>
            </a:endParaRPr>
          </a:p>
        </p:txBody>
      </p:sp>
      <p:sp>
        <p:nvSpPr>
          <p:cNvPr id="140" name="Left-Right Arrow 139"/>
          <p:cNvSpPr/>
          <p:nvPr/>
        </p:nvSpPr>
        <p:spPr>
          <a:xfrm rot="8297619">
            <a:off x="4754626" y="2492956"/>
            <a:ext cx="438651" cy="319920"/>
          </a:xfrm>
          <a:prstGeom prst="leftRight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pic>
        <p:nvPicPr>
          <p:cNvPr id="141" name="Picture 14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3689" y="1263628"/>
            <a:ext cx="444848" cy="476031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2932" y="2689233"/>
            <a:ext cx="588433" cy="229024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5545" y="2903081"/>
            <a:ext cx="391578" cy="391578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876" y="1423571"/>
            <a:ext cx="704150" cy="508625"/>
          </a:xfrm>
          <a:prstGeom prst="rect">
            <a:avLst/>
          </a:prstGeom>
        </p:spPr>
      </p:pic>
      <p:sp>
        <p:nvSpPr>
          <p:cNvPr id="145" name="TextBox 144"/>
          <p:cNvSpPr txBox="1"/>
          <p:nvPr/>
        </p:nvSpPr>
        <p:spPr>
          <a:xfrm>
            <a:off x="4973951" y="2648328"/>
            <a:ext cx="14113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Code artifacts, including applications are stored/retrieved in </a:t>
            </a:r>
            <a:r>
              <a:rPr lang="en-US" sz="9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NPM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 and </a:t>
            </a:r>
            <a:r>
              <a:rPr lang="en-US" sz="9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Bower </a:t>
            </a:r>
            <a:endParaRPr lang="en-US" sz="900" b="1" dirty="0">
              <a:solidFill>
                <a:srgbClr val="C91C15"/>
              </a:solidFill>
              <a:latin typeface="Avenir Next Regular"/>
              <a:cs typeface="Avenir Next Regular"/>
            </a:endParaRPr>
          </a:p>
        </p:txBody>
      </p:sp>
      <p:pic>
        <p:nvPicPr>
          <p:cNvPr id="146" name="Picture 145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2932" y="2995371"/>
            <a:ext cx="414122" cy="13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8826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Ops - Methodolog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29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0" y="869938"/>
            <a:ext cx="5169369" cy="3703650"/>
          </a:xfrm>
        </p:spPr>
        <p:txBody>
          <a:bodyPr>
            <a:normAutofit lnSpcReduction="10000"/>
          </a:bodyPr>
          <a:lstStyle/>
          <a:p>
            <a:r>
              <a:rPr lang="en-US" b="1" dirty="0" smtClean="0">
                <a:solidFill>
                  <a:srgbClr val="B51C15"/>
                </a:solidFill>
              </a:rPr>
              <a:t>JavaScript is a first-class citizen, not an afterthought!</a:t>
            </a:r>
          </a:p>
          <a:p>
            <a:r>
              <a:rPr lang="en-US" dirty="0" smtClean="0"/>
              <a:t>Test Driven Development increases understanding of the objectives for code before it’s written</a:t>
            </a:r>
          </a:p>
          <a:p>
            <a:r>
              <a:rPr lang="en-US" dirty="0" smtClean="0"/>
              <a:t>Continuous Everything: code analyses, full automated unit/functional regression, and optimization with each development branch push</a:t>
            </a:r>
          </a:p>
          <a:p>
            <a:r>
              <a:rPr lang="en-US" dirty="0" smtClean="0"/>
              <a:t>Pre-commit code review ensures good code before that code is inflicted upon others</a:t>
            </a:r>
          </a:p>
          <a:p>
            <a:endParaRPr lang="en-US" dirty="0"/>
          </a:p>
        </p:txBody>
      </p:sp>
      <p:pic>
        <p:nvPicPr>
          <p:cNvPr id="6" name="Picture 5" descr="Screen Shot 2014-12-11 at 10.53.53 PM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5175" y="1826343"/>
            <a:ext cx="3698825" cy="2856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3917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3200" dirty="0" smtClean="0"/>
              <a:t>The Opportunity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3469292" y="4563573"/>
            <a:ext cx="55894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i="1" dirty="0" smtClean="0">
                <a:solidFill>
                  <a:srgbClr val="C91C15"/>
                </a:solidFill>
                <a:latin typeface="Helvetica Light"/>
                <a:cs typeface="Helvetica Light"/>
              </a:rPr>
              <a:t>What do </a:t>
            </a:r>
            <a:r>
              <a:rPr lang="en-US" sz="2800" i="1" u="sng" dirty="0" smtClean="0">
                <a:solidFill>
                  <a:srgbClr val="C91C15"/>
                </a:solidFill>
                <a:latin typeface="Helvetica Light"/>
                <a:cs typeface="Helvetica Light"/>
              </a:rPr>
              <a:t>your stakeholders</a:t>
            </a:r>
            <a:r>
              <a:rPr lang="en-US" sz="2800" i="1" dirty="0" smtClean="0">
                <a:solidFill>
                  <a:srgbClr val="C91C15"/>
                </a:solidFill>
                <a:latin typeface="Helvetica Light"/>
                <a:cs typeface="Helvetica Light"/>
              </a:rPr>
              <a:t> want?</a:t>
            </a:r>
            <a:endParaRPr lang="en-US" sz="2800" i="1" dirty="0">
              <a:solidFill>
                <a:srgbClr val="C91C15"/>
              </a:solidFill>
              <a:latin typeface="Helvetica Light"/>
              <a:cs typeface="Helvetica Light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790399" y="1358871"/>
            <a:ext cx="3134959" cy="27116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lang="en-US" sz="2000" b="0" i="0" kern="1200" smtClean="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lang="en-US" sz="1800" b="0" i="0" kern="1200" smtClean="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lang="en-US" sz="1600" b="0" i="0" kern="1200" smtClean="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lang="en-US" sz="1400" b="0" i="0" kern="1200" smtClean="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lang="en-US" sz="1400" b="0" i="0" kern="1200">
                <a:solidFill>
                  <a:schemeClr val="tx2"/>
                </a:solidFill>
                <a:latin typeface="Avenir Next Regular"/>
                <a:ea typeface="+mn-ea"/>
                <a:cs typeface="Avenir Next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dirty="0" smtClean="0">
                <a:latin typeface="Avenir Light"/>
                <a:cs typeface="Avenir Light"/>
              </a:rPr>
              <a:t>Web applications ‘feel’ and behave like native apps</a:t>
            </a:r>
          </a:p>
          <a:p>
            <a:pPr marL="0" indent="0" algn="ctr">
              <a:buFont typeface="Arial"/>
              <a:buNone/>
            </a:pPr>
            <a:endParaRPr lang="en-US" dirty="0" smtClean="0">
              <a:latin typeface="Avenir Light"/>
              <a:cs typeface="Avenir Light"/>
            </a:endParaRPr>
          </a:p>
          <a:p>
            <a:pPr marL="0" indent="0" algn="ctr">
              <a:buFont typeface="Arial"/>
              <a:buNone/>
            </a:pPr>
            <a:endParaRPr lang="en-US" dirty="0" smtClean="0">
              <a:latin typeface="Avenir Light"/>
              <a:cs typeface="Avenir Light"/>
            </a:endParaRPr>
          </a:p>
          <a:p>
            <a:pPr marL="0" indent="0" algn="ctr">
              <a:buFont typeface="Arial"/>
              <a:buNone/>
            </a:pPr>
            <a:r>
              <a:rPr lang="en-US" dirty="0" smtClean="0">
                <a:latin typeface="Avenir Light"/>
                <a:cs typeface="Avenir Light"/>
              </a:rPr>
              <a:t>Faster development cycles are possible</a:t>
            </a:r>
          </a:p>
          <a:p>
            <a:pPr marL="0" indent="0" algn="ctr">
              <a:buFont typeface="Arial"/>
              <a:buNone/>
            </a:pPr>
            <a:endParaRPr lang="en-US" dirty="0">
              <a:latin typeface="Avenir Light"/>
              <a:cs typeface="Avenir Ligh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515557" y="1133977"/>
            <a:ext cx="4233332" cy="3055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lang="en-US" sz="24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lang="en-US" sz="20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lang="en-US" sz="18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lang="en-US" sz="1600" b="0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lang="en-US" sz="1600" b="0" i="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2000" dirty="0" smtClean="0">
                <a:latin typeface="Avenir Light"/>
                <a:cs typeface="Avenir Light"/>
              </a:rPr>
              <a:t>Support multiple channels with a single codebase and a single technology stack</a:t>
            </a:r>
          </a:p>
          <a:p>
            <a:pPr marL="0" indent="0" algn="ctr">
              <a:buFont typeface="Arial"/>
              <a:buNone/>
            </a:pPr>
            <a:endParaRPr lang="en-US" sz="2000" dirty="0">
              <a:latin typeface="Avenir Light"/>
              <a:cs typeface="Avenir Light"/>
            </a:endParaRPr>
          </a:p>
          <a:p>
            <a:pPr marL="0" indent="0" algn="ctr">
              <a:buFont typeface="Arial"/>
              <a:buNone/>
            </a:pPr>
            <a:endParaRPr lang="en-US" sz="2000" dirty="0" smtClean="0">
              <a:latin typeface="Avenir Light"/>
              <a:cs typeface="Avenir Light"/>
            </a:endParaRPr>
          </a:p>
          <a:p>
            <a:pPr marL="0" indent="0" algn="ctr">
              <a:buFont typeface="Arial"/>
              <a:buNone/>
            </a:pPr>
            <a:r>
              <a:rPr lang="en-US" sz="2000" dirty="0" smtClean="0">
                <a:latin typeface="Avenir Light"/>
                <a:cs typeface="Avenir Light"/>
              </a:rPr>
              <a:t>Technology that enables strategy and design; Tech is no longer the org who says ‘no’ to everything</a:t>
            </a:r>
            <a:endParaRPr lang="en-US" sz="2000" dirty="0">
              <a:latin typeface="Avenir Light"/>
              <a:cs typeface="Avenir Light"/>
            </a:endParaRPr>
          </a:p>
        </p:txBody>
      </p:sp>
    </p:spTree>
    <p:extLst>
      <p:ext uri="{BB962C8B-B14F-4D97-AF65-F5344CB8AC3E}">
        <p14:creationId xmlns:p14="http://schemas.microsoft.com/office/powerpoint/2010/main" val="130717121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482996"/>
          </a:xfrm>
        </p:spPr>
        <p:txBody>
          <a:bodyPr/>
          <a:lstStyle/>
          <a:p>
            <a:r>
              <a:rPr lang="en-US" dirty="0" smtClean="0"/>
              <a:t>Deliver - Test Automation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30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98448" y="3766943"/>
            <a:ext cx="8515351" cy="6441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269641" y="2143770"/>
            <a:ext cx="2520952" cy="1485376"/>
          </a:xfrm>
          <a:prstGeom prst="rect">
            <a:avLst/>
          </a:prstGeom>
          <a:solidFill>
            <a:srgbClr val="9C1C15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dirty="0">
              <a:latin typeface="Avenir Next Regular"/>
              <a:cs typeface="Avenir Next Regular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34668" y="2540003"/>
            <a:ext cx="2379132" cy="1158468"/>
          </a:xfrm>
          <a:prstGeom prst="rect">
            <a:avLst/>
          </a:prstGeom>
          <a:solidFill>
            <a:srgbClr val="339966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182880" rtlCol="0" anchor="ctr"/>
          <a:lstStyle/>
          <a:p>
            <a:pPr algn="ctr"/>
            <a:r>
              <a:rPr lang="en-US" sz="1400" dirty="0" smtClean="0">
                <a:latin typeface="Avenir Next Regular"/>
                <a:cs typeface="Avenir Next Regular"/>
              </a:rPr>
              <a:t>Chrome</a:t>
            </a:r>
          </a:p>
          <a:p>
            <a:pPr algn="ctr"/>
            <a:r>
              <a:rPr lang="en-US" sz="1400" dirty="0" smtClean="0">
                <a:latin typeface="Avenir Next Regular"/>
                <a:cs typeface="Avenir Next Regular"/>
              </a:rPr>
              <a:t>Firefox</a:t>
            </a:r>
          </a:p>
          <a:p>
            <a:pPr algn="ctr"/>
            <a:r>
              <a:rPr lang="en-US" sz="1400" dirty="0" smtClean="0">
                <a:latin typeface="Avenir Next Regular"/>
                <a:cs typeface="Avenir Next Regular"/>
              </a:rPr>
              <a:t>Safari</a:t>
            </a:r>
          </a:p>
          <a:p>
            <a:pPr algn="ctr"/>
            <a:r>
              <a:rPr lang="en-US" sz="1400" dirty="0" smtClean="0">
                <a:latin typeface="Avenir Next Regular"/>
                <a:cs typeface="Avenir Next Regular"/>
              </a:rPr>
              <a:t>Internet Explorer</a:t>
            </a:r>
          </a:p>
          <a:p>
            <a:pPr algn="ctr"/>
            <a:r>
              <a:rPr lang="en-US" sz="1400" dirty="0" smtClean="0">
                <a:latin typeface="Avenir Next Regular"/>
                <a:cs typeface="Avenir Next Regular"/>
              </a:rPr>
              <a:t>Appium (iOS, Android)</a:t>
            </a:r>
          </a:p>
          <a:p>
            <a:pPr algn="ctr"/>
            <a:endParaRPr lang="en-US" sz="1400" b="1" dirty="0"/>
          </a:p>
        </p:txBody>
      </p:sp>
      <p:sp>
        <p:nvSpPr>
          <p:cNvPr id="11" name="Rectangle 10"/>
          <p:cNvSpPr/>
          <p:nvPr/>
        </p:nvSpPr>
        <p:spPr>
          <a:xfrm>
            <a:off x="6434668" y="2146302"/>
            <a:ext cx="2379131" cy="304800"/>
          </a:xfrm>
          <a:prstGeom prst="rect">
            <a:avLst/>
          </a:prstGeom>
          <a:solidFill>
            <a:srgbClr val="9C1C15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venir Next Regular"/>
                <a:cs typeface="Avenir Next Regular"/>
              </a:rPr>
              <a:t>PhantomJS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3795" y="3807601"/>
            <a:ext cx="1993900" cy="549686"/>
          </a:xfrm>
          <a:prstGeom prst="rect">
            <a:avLst/>
          </a:prstGeom>
        </p:spPr>
      </p:pic>
      <p:grpSp>
        <p:nvGrpSpPr>
          <p:cNvPr id="23" name="Group 22"/>
          <p:cNvGrpSpPr/>
          <p:nvPr/>
        </p:nvGrpSpPr>
        <p:grpSpPr>
          <a:xfrm>
            <a:off x="3014132" y="2146302"/>
            <a:ext cx="3344335" cy="1526775"/>
            <a:chOff x="3014132" y="2146302"/>
            <a:chExt cx="3344335" cy="1526775"/>
          </a:xfrm>
        </p:grpSpPr>
        <p:sp>
          <p:nvSpPr>
            <p:cNvPr id="13" name="Right Arrow 12"/>
            <p:cNvSpPr/>
            <p:nvPr/>
          </p:nvSpPr>
          <p:spPr>
            <a:xfrm>
              <a:off x="3014132" y="2451102"/>
              <a:ext cx="668865" cy="838228"/>
            </a:xfrm>
            <a:prstGeom prst="rightArrow">
              <a:avLst/>
            </a:prstGeom>
            <a:solidFill>
              <a:srgbClr val="CC0000"/>
            </a:solidFill>
            <a:ln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lnSpc>
                  <a:spcPct val="80000"/>
                </a:lnSpc>
              </a:pPr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14" name="Right Arrow 13"/>
            <p:cNvSpPr/>
            <p:nvPr/>
          </p:nvSpPr>
          <p:spPr>
            <a:xfrm>
              <a:off x="5765796" y="2451102"/>
              <a:ext cx="592671" cy="838228"/>
            </a:xfrm>
            <a:prstGeom prst="rightArrow">
              <a:avLst/>
            </a:prstGeom>
            <a:solidFill>
              <a:srgbClr val="CC0000"/>
            </a:solidFill>
            <a:ln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lnSpc>
                  <a:spcPct val="80000"/>
                </a:lnSpc>
              </a:pPr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975097" y="2146302"/>
              <a:ext cx="1562101" cy="1526775"/>
              <a:chOff x="3975097" y="2146302"/>
              <a:chExt cx="1562101" cy="1526775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3975097" y="2616188"/>
                <a:ext cx="1562101" cy="347134"/>
              </a:xfrm>
              <a:prstGeom prst="rect">
                <a:avLst/>
              </a:prstGeom>
              <a:solidFill>
                <a:srgbClr val="9C1C15"/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latin typeface="Avenir Next Regular"/>
                    <a:cs typeface="Avenir Next Regular"/>
                  </a:rPr>
                  <a:t>WebdriverJS</a:t>
                </a: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975097" y="3355591"/>
                <a:ext cx="1562101" cy="317486"/>
              </a:xfrm>
              <a:prstGeom prst="rect">
                <a:avLst/>
              </a:prstGeom>
              <a:solidFill>
                <a:srgbClr val="339966"/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latin typeface="Avenir Next Regular"/>
                    <a:cs typeface="Avenir Next Regular"/>
                  </a:rPr>
                  <a:t>Selenium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983564" y="2146302"/>
                <a:ext cx="1549403" cy="356904"/>
              </a:xfrm>
              <a:prstGeom prst="rect">
                <a:avLst/>
              </a:prstGeom>
              <a:solidFill>
                <a:srgbClr val="9C1C15"/>
              </a:solidFill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latin typeface="Avenir Next Regular"/>
                    <a:cs typeface="Avenir Next Regular"/>
                  </a:rPr>
                  <a:t>CasperJS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4561482" y="2821617"/>
                <a:ext cx="457965" cy="584776"/>
              </a:xfrm>
              <a:prstGeom prst="rect">
                <a:avLst/>
              </a:prstGeom>
              <a:noFill/>
              <a:ln w="66675">
                <a:noFill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  <p:txBody>
              <a:bodyPr wrap="none" rtlCol="0">
                <a:spAutoFit/>
              </a:bodyPr>
              <a:lstStyle/>
              <a:p>
                <a:r>
                  <a:rPr lang="en-US" sz="3200" b="1" dirty="0" smtClean="0">
                    <a:ln w="25400" cmpd="sng">
                      <a:solidFill>
                        <a:schemeClr val="bg1"/>
                      </a:solidFill>
                    </a:ln>
                    <a:solidFill>
                      <a:srgbClr val="C91C15"/>
                    </a:solidFill>
                    <a:latin typeface="Avenir Next"/>
                  </a:rPr>
                  <a:t>+</a:t>
                </a:r>
                <a:endParaRPr lang="en-US" sz="3200" b="1" dirty="0">
                  <a:ln w="25400" cmpd="sng">
                    <a:solidFill>
                      <a:schemeClr val="bg1"/>
                    </a:solidFill>
                  </a:ln>
                  <a:solidFill>
                    <a:srgbClr val="C91C15"/>
                  </a:solidFill>
                  <a:latin typeface="Avenir Next"/>
                </a:endParaRPr>
              </a:p>
            </p:txBody>
          </p:sp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27509" y="3397926"/>
                <a:ext cx="258892" cy="234297"/>
              </a:xfrm>
              <a:prstGeom prst="rect">
                <a:avLst/>
              </a:prstGeom>
            </p:spPr>
          </p:pic>
        </p:grpSp>
      </p:grp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166906"/>
              </p:ext>
            </p:extLst>
          </p:nvPr>
        </p:nvGraphicFramePr>
        <p:xfrm>
          <a:off x="298447" y="2136379"/>
          <a:ext cx="2492145" cy="148336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784179"/>
                <a:gridCol w="170796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u="sng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Tool</a:t>
                      </a:r>
                      <a:endParaRPr lang="en-US" sz="1000" b="1" u="sng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u="sng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Test Function</a:t>
                      </a:r>
                      <a:endParaRPr lang="en-US" sz="1000" b="1" u="sng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Mocha</a:t>
                      </a:r>
                      <a:endParaRPr lang="en-US" sz="1000" b="0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Unit,</a:t>
                      </a:r>
                      <a:r>
                        <a:rPr lang="en-US" sz="1000" b="0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 API, </a:t>
                      </a:r>
                      <a:r>
                        <a:rPr lang="en-US" sz="1000" b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Functional</a:t>
                      </a:r>
                      <a:endParaRPr lang="en-US" sz="1000" b="0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Chai</a:t>
                      </a:r>
                      <a:endParaRPr lang="en-US" sz="1000" b="0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Test Assertions</a:t>
                      </a:r>
                      <a:endParaRPr lang="en-US" sz="1000" b="0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Sinon</a:t>
                      </a:r>
                      <a:endParaRPr lang="en-US" sz="1000" b="0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venir Next Regular"/>
                          <a:cs typeface="Avenir Next Regular"/>
                        </a:rPr>
                        <a:t>Mock Data</a:t>
                      </a:r>
                      <a:endParaRPr lang="en-US" sz="1000" b="0" dirty="0">
                        <a:solidFill>
                          <a:schemeClr val="bg1">
                            <a:lumMod val="95000"/>
                          </a:schemeClr>
                        </a:solidFill>
                        <a:latin typeface="Avenir Next Regular"/>
                        <a:cs typeface="Avenir Next Regular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1" name="Content Placeholder 4"/>
          <p:cNvSpPr>
            <a:spLocks noGrp="1"/>
          </p:cNvSpPr>
          <p:nvPr>
            <p:ph sz="quarter" idx="12"/>
          </p:nvPr>
        </p:nvSpPr>
        <p:spPr>
          <a:xfrm>
            <a:off x="127000" y="686797"/>
            <a:ext cx="8864600" cy="1167403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A single node.js-based testing toolset for all levels of testing and all testing functions </a:t>
            </a:r>
          </a:p>
          <a:p>
            <a:r>
              <a:rPr lang="en-US" dirty="0" smtClean="0"/>
              <a:t>Test all browsers and common devices, run via Grunt locally or on CI</a:t>
            </a:r>
          </a:p>
          <a:p>
            <a:r>
              <a:rPr lang="en-US" dirty="0" smtClean="0"/>
              <a:t>The same test suite works with client side JS and node.js on the server   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>
            <a:off x="1261653" y="3968660"/>
            <a:ext cx="444654" cy="318409"/>
            <a:chOff x="6673844" y="1481449"/>
            <a:chExt cx="805577" cy="723951"/>
          </a:xfrm>
        </p:grpSpPr>
        <p:sp>
          <p:nvSpPr>
            <p:cNvPr id="24" name="Oval 23"/>
            <p:cNvSpPr/>
            <p:nvPr/>
          </p:nvSpPr>
          <p:spPr>
            <a:xfrm>
              <a:off x="6722114" y="1481449"/>
              <a:ext cx="694686" cy="723951"/>
            </a:xfrm>
            <a:prstGeom prst="ellipse">
              <a:avLst/>
            </a:prstGeom>
            <a:solidFill>
              <a:srgbClr val="99663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673844" y="1647871"/>
              <a:ext cx="805577" cy="419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b="1" dirty="0" smtClean="0">
                  <a:solidFill>
                    <a:schemeClr val="bg1">
                      <a:lumMod val="95000"/>
                    </a:schemeClr>
                  </a:solidFill>
                  <a:latin typeface="Avenir Next Regular"/>
                  <a:cs typeface="Avenir Next Regular"/>
                </a:rPr>
                <a:t>mocha</a:t>
              </a:r>
              <a:endParaRPr lang="en-US" sz="600" b="1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endParaRPr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9984" y="3905546"/>
            <a:ext cx="434781" cy="36515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6398" y="3846083"/>
            <a:ext cx="394352" cy="34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2932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579516"/>
          </a:xfrm>
        </p:spPr>
        <p:txBody>
          <a:bodyPr/>
          <a:lstStyle/>
          <a:p>
            <a:r>
              <a:rPr lang="en-US" dirty="0" smtClean="0"/>
              <a:t>Deliver – Test Driven Developmen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31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585885" y="764516"/>
            <a:ext cx="4485640" cy="211201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AOWP development teams use a Test Driven Development methodology:</a:t>
            </a:r>
          </a:p>
          <a:p>
            <a:pPr marL="400050">
              <a:buFont typeface="+mj-lt"/>
              <a:buAutoNum type="arabicPeriod"/>
            </a:pPr>
            <a:r>
              <a:rPr lang="en-US" dirty="0" smtClean="0"/>
              <a:t>Write failing tests. </a:t>
            </a:r>
          </a:p>
          <a:p>
            <a:pPr marL="400050">
              <a:buFont typeface="+mj-lt"/>
              <a:buAutoNum type="arabicPeriod"/>
            </a:pPr>
            <a:r>
              <a:rPr lang="en-US" dirty="0" smtClean="0"/>
              <a:t>Write code to pass failing tests.</a:t>
            </a:r>
          </a:p>
          <a:p>
            <a:pPr marL="400050">
              <a:buFont typeface="+mj-lt"/>
              <a:buAutoNum type="arabicPeriod"/>
            </a:pPr>
            <a:r>
              <a:rPr lang="en-US" dirty="0" smtClean="0"/>
              <a:t>Submit for code review.</a:t>
            </a:r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009140149"/>
              </p:ext>
            </p:extLst>
          </p:nvPr>
        </p:nvGraphicFramePr>
        <p:xfrm>
          <a:off x="396240" y="764516"/>
          <a:ext cx="3759200" cy="211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Content Placeholder 4"/>
          <p:cNvSpPr txBox="1">
            <a:spLocks/>
          </p:cNvSpPr>
          <p:nvPr/>
        </p:nvSpPr>
        <p:spPr>
          <a:xfrm>
            <a:off x="100244" y="3007360"/>
            <a:ext cx="4867995" cy="1677646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8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venir Next Regular"/>
                <a:ea typeface="+mn-ea"/>
                <a:cs typeface="Avenir Next Regular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»"/>
              <a:defRPr sz="1400" b="0" i="0" kern="1200">
                <a:solidFill>
                  <a:schemeClr val="tx2"/>
                </a:solidFill>
                <a:latin typeface="Avenir Next Regular"/>
                <a:ea typeface="+mn-ea"/>
                <a:cs typeface="Avenir Next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dirty="0" smtClean="0"/>
              <a:t>Local testing tools ensure constant feedback for developers:</a:t>
            </a:r>
          </a:p>
          <a:p>
            <a:r>
              <a:rPr lang="en-US" dirty="0" smtClean="0"/>
              <a:t>Grunt can run full regressions with a single command</a:t>
            </a:r>
          </a:p>
          <a:p>
            <a:r>
              <a:rPr lang="en-US" dirty="0" smtClean="0"/>
              <a:t>Karma helps run tests related to the current working code after changes are made</a:t>
            </a:r>
          </a:p>
          <a:p>
            <a:pPr marL="57150" indent="0">
              <a:buFont typeface="Arial"/>
              <a:buNone/>
            </a:pPr>
            <a:endParaRPr lang="en-US" dirty="0" smtClean="0"/>
          </a:p>
          <a:p>
            <a:pPr marL="57150" indent="0">
              <a:buFont typeface="Arial"/>
              <a:buNone/>
            </a:pP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8531" y="3104916"/>
            <a:ext cx="583013" cy="5818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5173" y="4134939"/>
            <a:ext cx="1463040" cy="340360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399478" y="3442783"/>
            <a:ext cx="702144" cy="654960"/>
            <a:chOff x="6871614" y="3530405"/>
            <a:chExt cx="702144" cy="654960"/>
          </a:xfrm>
        </p:grpSpPr>
        <p:sp>
          <p:nvSpPr>
            <p:cNvPr id="12" name="Oval 11"/>
            <p:cNvSpPr/>
            <p:nvPr/>
          </p:nvSpPr>
          <p:spPr>
            <a:xfrm>
              <a:off x="6891937" y="3530405"/>
              <a:ext cx="677263" cy="654960"/>
            </a:xfrm>
            <a:prstGeom prst="ellipse">
              <a:avLst/>
            </a:prstGeom>
            <a:solidFill>
              <a:srgbClr val="99663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871614" y="3712515"/>
              <a:ext cx="702144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>
                      <a:lumMod val="95000"/>
                    </a:schemeClr>
                  </a:solidFill>
                  <a:latin typeface="Avenir Next Regular"/>
                  <a:cs typeface="Avenir Next Regular"/>
                </a:rPr>
                <a:t>mocha</a:t>
              </a:r>
              <a:endParaRPr lang="en-US" sz="1200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954" y="3821205"/>
            <a:ext cx="607073" cy="62484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622" y="3200732"/>
            <a:ext cx="550623" cy="58634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622" y="3927571"/>
            <a:ext cx="340648" cy="417933"/>
          </a:xfrm>
          <a:prstGeom prst="rect">
            <a:avLst/>
          </a:prstGeom>
        </p:spPr>
      </p:pic>
      <p:sp>
        <p:nvSpPr>
          <p:cNvPr id="17" name="Right Arrow 16"/>
          <p:cNvSpPr/>
          <p:nvPr/>
        </p:nvSpPr>
        <p:spPr>
          <a:xfrm>
            <a:off x="6730613" y="3223664"/>
            <a:ext cx="668865" cy="365760"/>
          </a:xfrm>
          <a:prstGeom prst="right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844046" y="3092443"/>
            <a:ext cx="838691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test</a:t>
            </a:r>
            <a:endParaRPr lang="en-US" sz="2800" b="1" dirty="0">
              <a:solidFill>
                <a:srgbClr val="C91C15"/>
              </a:solidFill>
              <a:latin typeface="Avenir Next Regular"/>
              <a:cs typeface="Avenir Next Regular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6730613" y="4097743"/>
            <a:ext cx="668865" cy="365760"/>
          </a:xfrm>
          <a:prstGeom prst="rightArrow">
            <a:avLst/>
          </a:prstGeom>
          <a:solidFill>
            <a:srgbClr val="CC0000"/>
          </a:solidFill>
          <a:ln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1735153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OWP Academ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32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2387562" y="869938"/>
            <a:ext cx="6683963" cy="3749099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The AOWP Academy is </a:t>
            </a:r>
            <a:r>
              <a:rPr lang="en-US" dirty="0" smtClean="0"/>
              <a:t>an immersive </a:t>
            </a:r>
            <a:r>
              <a:rPr lang="en-US" dirty="0"/>
              <a:t>training program </a:t>
            </a:r>
            <a:r>
              <a:rPr lang="en-US" dirty="0" smtClean="0"/>
              <a:t>that </a:t>
            </a:r>
            <a:r>
              <a:rPr lang="en-US" dirty="0"/>
              <a:t>combines online </a:t>
            </a:r>
            <a:r>
              <a:rPr lang="en-US" dirty="0" smtClean="0"/>
              <a:t>interactive courses, webinars and </a:t>
            </a:r>
            <a:r>
              <a:rPr lang="en-US" dirty="0"/>
              <a:t>a </a:t>
            </a:r>
            <a:r>
              <a:rPr lang="en-US" dirty="0" smtClean="0"/>
              <a:t>comprehensive application development project.</a:t>
            </a:r>
          </a:p>
          <a:p>
            <a:r>
              <a:rPr lang="en-US" dirty="0" smtClean="0"/>
              <a:t>The academy uses all of AOWP’s technologies as well as the DevOps processes, architectures, and many accelerators.</a:t>
            </a:r>
          </a:p>
          <a:p>
            <a:r>
              <a:rPr lang="en-US" dirty="0" smtClean="0"/>
              <a:t>Participants spend much of the course working as an agile team to deliver a real application</a:t>
            </a:r>
          </a:p>
          <a:p>
            <a:r>
              <a:rPr lang="en-US" dirty="0" smtClean="0"/>
              <a:t>Participants are paired with code reviewers and coaches that ‘grade’ their performance in the course using their outputted code: </a:t>
            </a:r>
            <a:r>
              <a:rPr lang="en-US" b="1" dirty="0" smtClean="0"/>
              <a:t>developers who graduate have successfully delivered high quality code and are ready to meaningfully contribute to real projects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5" y="869938"/>
            <a:ext cx="2164264" cy="2347395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25790" y="3217333"/>
            <a:ext cx="2104776" cy="1342909"/>
            <a:chOff x="508000" y="3217333"/>
            <a:chExt cx="2104776" cy="1342909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8000" y="3217333"/>
              <a:ext cx="2033714" cy="1342909"/>
            </a:xfrm>
            <a:prstGeom prst="rect">
              <a:avLst/>
            </a:prstGeom>
            <a:noFill/>
            <a:ln>
              <a:noFill/>
            </a:ln>
            <a:effectLst>
              <a:reflection blurRad="6350" stA="52000" endA="300" endPos="15000" dir="5400000" sy="-100000" algn="bl" rotWithShape="0"/>
            </a:effectLst>
          </p:spPr>
        </p:pic>
        <p:pic>
          <p:nvPicPr>
            <p:cNvPr id="10" name="Picture 9" descr="1-home.jpg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9558" y="3266318"/>
              <a:ext cx="1554639" cy="90035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3397" y="3583061"/>
              <a:ext cx="631861" cy="936861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reflection blurRad="6350" stA="52000" endA="300" endPos="10000" dir="5400000" sy="-100000" algn="bl" rotWithShape="0"/>
            </a:effectLst>
          </p:spPr>
        </p:pic>
        <p:pic>
          <p:nvPicPr>
            <p:cNvPr id="12" name="Picture 11" descr="5-tablet-journey-american-started-dropdowns.jpg"/>
            <p:cNvPicPr>
              <a:picLocks noChangeAspect="1"/>
            </p:cNvPicPr>
            <p:nvPr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2491" y="3598985"/>
              <a:ext cx="575684" cy="768516"/>
            </a:xfrm>
            <a:prstGeom prst="rect">
              <a:avLst/>
            </a:prstGeom>
            <a:ln>
              <a:solidFill>
                <a:schemeClr val="accent6">
                  <a:lumMod val="90000"/>
                </a:schemeClr>
              </a:solidFill>
            </a:ln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74804" y="3874896"/>
              <a:ext cx="337972" cy="656256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reflection blurRad="6350" stA="52000" endA="300" endPos="10000" dir="5400000" sy="-100000" algn="bl" rotWithShape="0"/>
            </a:effectLst>
          </p:spPr>
        </p:pic>
        <p:pic>
          <p:nvPicPr>
            <p:cNvPr id="14" name="Picture 13" descr="10-mobile-challenge-missed-2.jpg"/>
            <p:cNvPicPr>
              <a:picLocks noChangeAspect="1"/>
            </p:cNvPicPr>
            <p:nvPr/>
          </p:nvPicPr>
          <p:blipFill>
            <a:blip r:embed="rId10" cstate="screen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72327" y="3856066"/>
              <a:ext cx="293501" cy="513626"/>
            </a:xfrm>
            <a:prstGeom prst="rect">
              <a:avLst/>
            </a:prstGeom>
            <a:ln>
              <a:solidFill>
                <a:schemeClr val="accent6">
                  <a:lumMod val="90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495881098"/>
      </p:ext>
    </p:extLst>
  </p:cSld>
  <p:clrMapOvr>
    <a:masterClrMapping/>
  </p:clrMapOvr>
  <p:transition xmlns:p14="http://schemas.microsoft.com/office/powerpoint/2010/main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venir Book"/>
                <a:cs typeface="Avenir Book"/>
              </a:rPr>
              <a:t>More Information</a:t>
            </a:r>
            <a:endParaRPr lang="en-US" dirty="0">
              <a:latin typeface="Avenir Book"/>
              <a:cs typeface="Avenir Book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01A0F-09BA-8F4E-BAF1-40291A86EF31}" type="slidenum">
              <a:rPr lang="en-US" smtClean="0">
                <a:latin typeface="Avenir Book"/>
                <a:cs typeface="Avenir Book"/>
              </a:rPr>
              <a:t>33</a:t>
            </a:fld>
            <a:endParaRPr lang="en-US">
              <a:latin typeface="Avenir Book"/>
              <a:cs typeface="Avenir Book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latin typeface="Avenir Book"/>
                <a:cs typeface="Avenir Book"/>
              </a:rPr>
              <a:t>© 2014 Accenture All Rights Reserved</a:t>
            </a:r>
          </a:p>
          <a:p>
            <a:endParaRPr lang="en-US" dirty="0">
              <a:latin typeface="Avenir Book"/>
              <a:cs typeface="Avenir Book"/>
            </a:endParaRPr>
          </a:p>
        </p:txBody>
      </p:sp>
      <p:pic>
        <p:nvPicPr>
          <p:cNvPr id="6" name="Picture 5" descr="Emmys.jpe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173" y="1245309"/>
            <a:ext cx="1049057" cy="103806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784321" y="859005"/>
            <a:ext cx="16345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u="sng" dirty="0" smtClean="0">
                <a:latin typeface="Avenir Book"/>
                <a:cs typeface="Avenir Book"/>
              </a:rPr>
              <a:t>LEADERSHIP</a:t>
            </a:r>
            <a:endParaRPr lang="en-US" sz="1400" u="sng" dirty="0">
              <a:latin typeface="Avenir Book"/>
              <a:cs typeface="Avenir Book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677360" y="2348710"/>
            <a:ext cx="17876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latin typeface="Avenir Book"/>
                <a:cs typeface="Avenir Book"/>
                <a:hlinkClick r:id="rId3" tooltip="matthew.d.lancaster@accenture.com"/>
              </a:rPr>
              <a:t>MATT LANCASTER</a:t>
            </a:r>
            <a:endParaRPr lang="en-US" sz="1400" dirty="0" smtClean="0">
              <a:latin typeface="Avenir Book"/>
              <a:cs typeface="Avenir Book"/>
            </a:endParaRPr>
          </a:p>
          <a:p>
            <a:pPr algn="ctr"/>
            <a:r>
              <a:rPr lang="en-US" sz="1100" dirty="0" smtClean="0">
                <a:latin typeface="Avenir Book"/>
                <a:cs typeface="Avenir Book"/>
              </a:rPr>
              <a:t>AOWP Global Lead</a:t>
            </a:r>
            <a:endParaRPr lang="en-US" sz="1100" dirty="0">
              <a:latin typeface="Avenir Book"/>
              <a:cs typeface="Avenir Book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7625" y="2348710"/>
            <a:ext cx="1326004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latin typeface="Avenir Book"/>
                <a:cs typeface="Avenir Book"/>
                <a:hlinkClick r:id="rId4" tooltip="rajeev.k.kaul@accenture.com"/>
              </a:rPr>
              <a:t>RAJEEV KAUL</a:t>
            </a:r>
            <a:endParaRPr lang="en-US" sz="1400" dirty="0" smtClean="0">
              <a:latin typeface="Avenir Book"/>
              <a:cs typeface="Avenir Book"/>
            </a:endParaRPr>
          </a:p>
          <a:p>
            <a:pPr algn="ctr"/>
            <a:r>
              <a:rPr lang="en-US" sz="1100" dirty="0" smtClean="0">
                <a:latin typeface="Avenir Book"/>
                <a:cs typeface="Avenir Book"/>
              </a:rPr>
              <a:t>AOWP NA Lead</a:t>
            </a:r>
            <a:endParaRPr lang="en-US" sz="1100" dirty="0">
              <a:latin typeface="Avenir Book"/>
              <a:cs typeface="Avenir Book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0954" y="859005"/>
            <a:ext cx="8846660" cy="20437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/>
              <a:cs typeface="Avenir Book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333995" y="3099387"/>
            <a:ext cx="4633619" cy="15830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u="sng" dirty="0" smtClean="0">
                <a:latin typeface="Avenir Book"/>
                <a:cs typeface="Avenir Book"/>
              </a:rPr>
              <a:t>CONTACT</a:t>
            </a:r>
            <a:endParaRPr lang="en-US" u="sng" dirty="0" smtClean="0">
              <a:latin typeface="Avenir Book"/>
              <a:cs typeface="Avenir Book"/>
            </a:endParaRPr>
          </a:p>
          <a:p>
            <a:endParaRPr lang="en-US" dirty="0" smtClean="0">
              <a:latin typeface="Avenir Book"/>
              <a:cs typeface="Avenir Book"/>
            </a:endParaRPr>
          </a:p>
          <a:p>
            <a:r>
              <a:rPr lang="en-US" sz="1600" dirty="0" smtClean="0">
                <a:latin typeface="Avenir Book"/>
                <a:cs typeface="Avenir Book"/>
              </a:rPr>
              <a:t>BD/SME Support Request: </a:t>
            </a:r>
            <a:r>
              <a:rPr lang="en-US" sz="1600" dirty="0" smtClean="0">
                <a:latin typeface="Avenir Book"/>
                <a:cs typeface="Avenir Book"/>
                <a:hlinkClick r:id="rId5"/>
              </a:rPr>
              <a:t>ATA Front Door</a:t>
            </a:r>
            <a:endParaRPr lang="en-US" sz="1600" dirty="0">
              <a:latin typeface="Avenir Book"/>
              <a:cs typeface="Avenir Book"/>
            </a:endParaRPr>
          </a:p>
          <a:p>
            <a:r>
              <a:rPr lang="en-US" sz="1600" dirty="0" smtClean="0">
                <a:latin typeface="Avenir Book"/>
                <a:cs typeface="Avenir Book"/>
              </a:rPr>
              <a:t>Email: </a:t>
            </a:r>
            <a:r>
              <a:rPr lang="en-US" sz="1600" dirty="0" smtClean="0">
                <a:latin typeface="Avenir Book"/>
                <a:cs typeface="Avenir Book"/>
                <a:hlinkClick r:id="rId6"/>
              </a:rPr>
              <a:t>AOWP.Support@accenture.com</a:t>
            </a:r>
            <a:endParaRPr lang="en-US" sz="1600" dirty="0" smtClean="0">
              <a:latin typeface="Avenir Book"/>
              <a:cs typeface="Avenir Book"/>
            </a:endParaRPr>
          </a:p>
          <a:p>
            <a:endParaRPr lang="en-US" dirty="0" smtClean="0">
              <a:latin typeface="Avenir Book"/>
              <a:cs typeface="Avenir Book"/>
              <a:hlinkClick r:id="rId7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0954" y="3099387"/>
            <a:ext cx="4077921" cy="15830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u="sng" dirty="0" smtClean="0">
                <a:latin typeface="Avenir Book"/>
                <a:cs typeface="Avenir Book"/>
              </a:rPr>
              <a:t>MORE INFORMATION</a:t>
            </a:r>
          </a:p>
          <a:p>
            <a:pPr algn="ctr"/>
            <a:endParaRPr lang="en-US" sz="1400" dirty="0">
              <a:latin typeface="Avenir Book"/>
              <a:cs typeface="Avenir Book"/>
            </a:endParaRPr>
          </a:p>
          <a:p>
            <a:r>
              <a:rPr lang="en-US" sz="1400" dirty="0">
                <a:latin typeface="Avenir Book"/>
                <a:cs typeface="Avenir Book"/>
              </a:rPr>
              <a:t>Web: </a:t>
            </a:r>
            <a:r>
              <a:rPr lang="en-US" sz="1400" dirty="0">
                <a:latin typeface="Avenir Book"/>
                <a:cs typeface="Avenir Book"/>
                <a:hlinkClick r:id="rId7"/>
              </a:rPr>
              <a:t>http://aowp.accenture.com</a:t>
            </a:r>
          </a:p>
          <a:p>
            <a:r>
              <a:rPr lang="en-US" sz="1400" dirty="0" smtClean="0">
                <a:latin typeface="Avenir Book"/>
                <a:cs typeface="Avenir Book"/>
              </a:rPr>
              <a:t>Wiki: </a:t>
            </a:r>
            <a:r>
              <a:rPr lang="en-US" sz="1400" dirty="0" smtClean="0">
                <a:latin typeface="Avenir Book"/>
                <a:cs typeface="Avenir Book"/>
                <a:hlinkClick r:id="rId8" tooltip="https://aowp.accenture.com/wiki/"/>
              </a:rPr>
              <a:t>AOWP Wiki</a:t>
            </a:r>
            <a:endParaRPr lang="en-US" sz="1400" dirty="0" smtClean="0">
              <a:latin typeface="Avenir Book"/>
              <a:cs typeface="Avenir Book"/>
            </a:endParaRPr>
          </a:p>
          <a:p>
            <a:r>
              <a:rPr lang="en-US" sz="1400" dirty="0" smtClean="0">
                <a:latin typeface="Avenir Book"/>
                <a:cs typeface="Avenir Book"/>
              </a:rPr>
              <a:t>Yammer: </a:t>
            </a:r>
            <a:r>
              <a:rPr lang="en-US" sz="1400" dirty="0" smtClean="0">
                <a:latin typeface="Avenir Book"/>
                <a:cs typeface="Avenir Book"/>
                <a:hlinkClick r:id="rId9"/>
              </a:rPr>
              <a:t>AOWP</a:t>
            </a:r>
            <a:endParaRPr lang="en-US" sz="1400" dirty="0" smtClean="0">
              <a:latin typeface="Avenir Book"/>
              <a:cs typeface="Avenir Book"/>
            </a:endParaRPr>
          </a:p>
          <a:p>
            <a:r>
              <a:rPr lang="en-US" sz="1400" dirty="0" smtClean="0">
                <a:latin typeface="Avenir Book"/>
                <a:cs typeface="Avenir Book"/>
              </a:rPr>
              <a:t>Training: </a:t>
            </a:r>
            <a:r>
              <a:rPr lang="en-US" sz="1400" dirty="0" smtClean="0">
                <a:latin typeface="Avenir Book"/>
                <a:cs typeface="Avenir Book"/>
                <a:hlinkClick r:id="rId10"/>
              </a:rPr>
              <a:t>AOWP Academy</a:t>
            </a:r>
            <a:endParaRPr lang="en-US" sz="1400" dirty="0">
              <a:latin typeface="Avenir Book"/>
              <a:cs typeface="Avenir Book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4014" y="1197559"/>
            <a:ext cx="985631" cy="103806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481842" y="2348710"/>
            <a:ext cx="1763624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latin typeface="Avenir Book"/>
                <a:cs typeface="Avenir Book"/>
                <a:hlinkClick r:id="rId12"/>
              </a:rPr>
              <a:t>OSCAR RENALIAS</a:t>
            </a:r>
            <a:endParaRPr lang="en-US" sz="1400" dirty="0" smtClean="0">
              <a:latin typeface="Avenir Book"/>
              <a:cs typeface="Avenir Book"/>
            </a:endParaRPr>
          </a:p>
          <a:p>
            <a:pPr algn="ctr"/>
            <a:r>
              <a:rPr lang="en-US" sz="1100" dirty="0" smtClean="0">
                <a:latin typeface="Avenir Book"/>
                <a:cs typeface="Avenir Book"/>
              </a:rPr>
              <a:t>AOWP EALA Lead</a:t>
            </a:r>
            <a:endParaRPr lang="en-US" sz="1100" dirty="0">
              <a:latin typeface="Avenir Book"/>
              <a:cs typeface="Avenir Book"/>
            </a:endParaRPr>
          </a:p>
        </p:txBody>
      </p:sp>
      <p:pic>
        <p:nvPicPr>
          <p:cNvPr id="3" name="Picture 2" descr="Matt1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554" y="1245309"/>
            <a:ext cx="1014445" cy="1029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12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0435" y="1665127"/>
            <a:ext cx="7772400" cy="1021556"/>
          </a:xfrm>
        </p:spPr>
        <p:txBody>
          <a:bodyPr anchor="ctr"/>
          <a:lstStyle/>
          <a:p>
            <a:pPr algn="ctr"/>
            <a:r>
              <a:rPr lang="en-US" dirty="0" smtClean="0"/>
              <a:t>Selected CREDENTIAL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9277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elecom Site Re-Architecture &amp; Re-Platfor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Re-platform, re-architect, and modernize top brand telecommunications Web properties. 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Create an architecture capable of meeting ambitious user experience and performance goals in under 3 months. 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Create a DevOps and development process capable of sustaining 200+ developers on Client/API technologies.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Architected new site in record time; put together solutions for CMS integration, custom scaffolding, and much more. 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Created DevOps process and trained over 100 resources in 2 months to use new tools and processes. Reached maturity quickly. 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Continuously improved to reduce waste in overall process; reduced headcount while improving velocity. 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Heavily leverage AOWP assets to accelerate architecture; blend with API and CMS requirements. 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Create DevOps infrastructure and capability from AOWP assets; deploy to the cloud and train development resources quickly. 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Heavily leverage reusable components and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Location: North America (USA)</a:t>
            </a:r>
          </a:p>
          <a:p>
            <a:r>
              <a:rPr lang="en-US" dirty="0"/>
              <a:t>OU: Communications, Media, and Technology</a:t>
            </a:r>
          </a:p>
          <a:p>
            <a:r>
              <a:rPr lang="en-US" dirty="0"/>
              <a:t>Success: </a:t>
            </a:r>
            <a:r>
              <a:rPr lang="en-US" b="1" dirty="0" smtClean="0"/>
              <a:t>Complete re-architecture and re-platform of top tier consumer telecommunications ecommerce and marketing sites</a:t>
            </a:r>
            <a:endParaRPr lang="en-US" b="1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35</a:t>
            </a:fld>
            <a:endParaRPr lang="en-US"/>
          </a:p>
        </p:txBody>
      </p:sp>
      <p:pic>
        <p:nvPicPr>
          <p:cNvPr id="12" name="Picture 11" descr="Screen Shot 2014-11-20 at 7.44.07 PM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0920" y="253244"/>
            <a:ext cx="2876516" cy="1920996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387935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207" y="43490"/>
            <a:ext cx="6041782" cy="826724"/>
          </a:xfrm>
        </p:spPr>
        <p:txBody>
          <a:bodyPr anchor="t"/>
          <a:lstStyle/>
          <a:p>
            <a:r>
              <a:rPr lang="en-US" dirty="0"/>
              <a:t>Telecom Site Re-Architecture &amp; Re-Platfor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dirty="0" smtClean="0">
                <a:latin typeface="Avenir Next Regular"/>
                <a:cs typeface="Avenir Next Regular"/>
              </a:rPr>
              <a:t>Confidential</a:t>
            </a:r>
            <a:endParaRPr lang="en-US" dirty="0">
              <a:latin typeface="Avenir Next Regular"/>
              <a:cs typeface="Avenir Next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venir Next Regular"/>
                <a:cs typeface="Avenir Next Regular"/>
              </a:rPr>
              <a:pPr defTabSz="914400"/>
              <a:t>36</a:t>
            </a:fld>
            <a:endParaRPr lang="en-US">
              <a:latin typeface="Avenir Next Regular"/>
              <a:cs typeface="Avenir Next Regular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04941" y="199483"/>
            <a:ext cx="2739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200" b="1" cap="small" dirty="0" smtClean="0">
                <a:solidFill>
                  <a:schemeClr val="accent1"/>
                </a:solidFill>
                <a:latin typeface="Avenir Next Regular"/>
                <a:cs typeface="Avenir Next Regular"/>
              </a:rPr>
              <a:t>technology stack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531147" y="480519"/>
            <a:ext cx="24846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550449" y="603956"/>
            <a:ext cx="2104834" cy="59503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UI, UI Development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AngularJS, Bluebird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Yeoman, Bower</a:t>
            </a:r>
          </a:p>
        </p:txBody>
      </p:sp>
      <p:sp>
        <p:nvSpPr>
          <p:cNvPr id="9" name="Rectangle 8"/>
          <p:cNvSpPr/>
          <p:nvPr/>
        </p:nvSpPr>
        <p:spPr>
          <a:xfrm>
            <a:off x="6531147" y="1516437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Web API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Apigee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50449" y="2147478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CM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Adobe Experience Manager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6490508" y="1473410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531147" y="2123478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images.jpg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8641" y="576866"/>
            <a:ext cx="490274" cy="490274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6531146" y="2838599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550449" y="2921905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Version Control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Atlassian Stash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531146" y="3342533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6490508" y="3420999"/>
            <a:ext cx="1594936" cy="94384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Testing / DevOp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Jenkins, Grunt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Mocha, Chai, Sinon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Karma, Protractor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800" dirty="0" smtClean="0">
              <a:solidFill>
                <a:srgbClr val="CA2F31"/>
              </a:solidFill>
              <a:latin typeface="Avenir Next Regular"/>
              <a:cs typeface="Avenir Next Regular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35311" y="1523860"/>
            <a:ext cx="5757363" cy="2442582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Restful </a:t>
            </a:r>
            <a:r>
              <a:rPr lang="en-US" sz="1100" dirty="0">
                <a:latin typeface="Avenir Next Regular"/>
                <a:cs typeface="Avenir Next Regular"/>
              </a:rPr>
              <a:t>web services APIs were </a:t>
            </a:r>
            <a:r>
              <a:rPr lang="en-US" sz="1100" dirty="0" smtClean="0">
                <a:latin typeface="Avenir Next Regular"/>
                <a:cs typeface="Avenir Next Regular"/>
              </a:rPr>
              <a:t>created inside the Apigee platform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The UI was </a:t>
            </a:r>
            <a:r>
              <a:rPr lang="en-US" sz="1100" dirty="0">
                <a:latin typeface="Avenir Next Regular"/>
                <a:cs typeface="Avenir Next Regular"/>
              </a:rPr>
              <a:t>developed using </a:t>
            </a:r>
            <a:r>
              <a:rPr lang="en-US" sz="1100" dirty="0" smtClean="0">
                <a:latin typeface="Avenir Next Regular"/>
                <a:cs typeface="Avenir Next Regular"/>
              </a:rPr>
              <a:t>AngularJS, </a:t>
            </a:r>
            <a:r>
              <a:rPr lang="en-US" sz="1100" dirty="0">
                <a:latin typeface="Avenir Next Regular"/>
                <a:cs typeface="Avenir Next Regular"/>
              </a:rPr>
              <a:t>which also consumed </a:t>
            </a:r>
            <a:r>
              <a:rPr lang="en-US" sz="1100" dirty="0" smtClean="0">
                <a:latin typeface="Avenir Next Regular"/>
                <a:cs typeface="Avenir Next Regular"/>
              </a:rPr>
              <a:t>APIs from Apigee and content from AEM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Adobe Experience Manager delivered the content for all marketing pages and any content-configurable pages</a:t>
            </a: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An integrated JavaScript testing suite of Mocha, Chai, and Sinon was used through Grunt, Protractor, and Karma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Fully functional DevOps with analysis, testing, and deployment was created; utilizing Jenkins and Grunt along with the testing tools above and analysis tools like </a:t>
            </a:r>
            <a:r>
              <a:rPr lang="en-US" sz="1100" dirty="0" err="1" smtClean="0">
                <a:latin typeface="Avenir Next Regular"/>
                <a:cs typeface="Avenir Next Regular"/>
              </a:rPr>
              <a:t>jsHint</a:t>
            </a:r>
            <a:r>
              <a:rPr lang="en-US" sz="1100" dirty="0" smtClean="0">
                <a:latin typeface="Avenir Next Regular"/>
                <a:cs typeface="Avenir Next Regular"/>
              </a:rPr>
              <a:t>, </a:t>
            </a:r>
            <a:r>
              <a:rPr lang="en-US" sz="1100" dirty="0" err="1" smtClean="0">
                <a:latin typeface="Avenir Next Regular"/>
                <a:cs typeface="Avenir Next Regular"/>
              </a:rPr>
              <a:t>jscs</a:t>
            </a:r>
            <a:r>
              <a:rPr lang="en-US" sz="1100" dirty="0" smtClean="0">
                <a:latin typeface="Avenir Next Regular"/>
                <a:cs typeface="Avenir Next Regular"/>
              </a:rPr>
              <a:t>, and Plato</a:t>
            </a:r>
            <a:endParaRPr lang="en-US" sz="1100" dirty="0">
              <a:latin typeface="Avenir Next Regular"/>
              <a:cs typeface="Avenir Next Regular"/>
            </a:endParaRPr>
          </a:p>
        </p:txBody>
      </p:sp>
      <p:sp>
        <p:nvSpPr>
          <p:cNvPr id="25" name="Content Placeholder 2"/>
          <p:cNvSpPr txBox="1">
            <a:spLocks/>
          </p:cNvSpPr>
          <p:nvPr/>
        </p:nvSpPr>
        <p:spPr bwMode="black">
          <a:xfrm>
            <a:off x="335311" y="893842"/>
            <a:ext cx="5780921" cy="469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8925" indent="-288925" algn="l" rtl="0" eaLnBrk="0" fontAlgn="base" hangingPunct="0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har char="•"/>
              <a:defRPr>
                <a:solidFill>
                  <a:schemeClr val="tx1"/>
                </a:solidFill>
                <a:latin typeface="+mn-lt"/>
                <a:ea typeface="ヒラギノ角ゴ Pro W3" charset="0"/>
                <a:cs typeface="Geneva" charset="0"/>
              </a:defRPr>
            </a:lvl1pPr>
            <a:lvl2pPr marL="633413" indent="-23018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974725" indent="-227013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312863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1651000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108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5654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0226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4798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sz="12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To support the objectives, the following areas were analyzed and we have provided solution options and recommendations for each: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1127" y="3793219"/>
            <a:ext cx="424853" cy="383247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8635981" y="3793219"/>
            <a:ext cx="444654" cy="318409"/>
            <a:chOff x="6673844" y="1481449"/>
            <a:chExt cx="805577" cy="723951"/>
          </a:xfrm>
        </p:grpSpPr>
        <p:sp>
          <p:nvSpPr>
            <p:cNvPr id="29" name="Oval 28"/>
            <p:cNvSpPr/>
            <p:nvPr/>
          </p:nvSpPr>
          <p:spPr>
            <a:xfrm>
              <a:off x="6722114" y="1481449"/>
              <a:ext cx="694686" cy="723951"/>
            </a:xfrm>
            <a:prstGeom prst="ellipse">
              <a:avLst/>
            </a:prstGeom>
            <a:solidFill>
              <a:srgbClr val="99663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673844" y="1647871"/>
              <a:ext cx="805577" cy="419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b="1" dirty="0" smtClean="0">
                  <a:solidFill>
                    <a:schemeClr val="bg1">
                      <a:lumMod val="95000"/>
                    </a:schemeClr>
                  </a:solidFill>
                  <a:latin typeface="Avenir Next Regular"/>
                  <a:cs typeface="Avenir Next Regular"/>
                </a:rPr>
                <a:t>mocha</a:t>
              </a:r>
              <a:endParaRPr lang="en-US" sz="600" b="1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346" y="4200251"/>
            <a:ext cx="354772" cy="36515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4198" y="4222746"/>
            <a:ext cx="321783" cy="34266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7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5821" y="4254762"/>
            <a:ext cx="208643" cy="255979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521" y="3420999"/>
            <a:ext cx="293638" cy="3142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6944" y="3851877"/>
            <a:ext cx="297520" cy="32458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3702" y="1027076"/>
            <a:ext cx="515213" cy="44633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5444" y="1067140"/>
            <a:ext cx="391578" cy="391578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6119" y="3342533"/>
            <a:ext cx="509344" cy="50934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546" y="4222746"/>
            <a:ext cx="413398" cy="32072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0953" y="1573902"/>
            <a:ext cx="834869" cy="3803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9774" y="2838599"/>
            <a:ext cx="963828" cy="42408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3694" y="2123478"/>
            <a:ext cx="726941" cy="708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7716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Citicorp.JPG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Cross-Channel Digital Convergence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sz="1000" dirty="0"/>
              <a:t>In order to deliver a brand-consistent, high quality user </a:t>
            </a:r>
            <a:r>
              <a:rPr lang="en-US" sz="1000" dirty="0" smtClean="0"/>
              <a:t>experience, the Client engaged Accenture to help define a converged digital platform targeting desktop, tablet, and mobile endpoints. </a:t>
            </a:r>
            <a:endParaRPr lang="en-US" sz="1000" dirty="0"/>
          </a:p>
          <a:p>
            <a:endParaRPr lang="en-US" sz="1000" dirty="0" smtClean="0"/>
          </a:p>
          <a:p>
            <a:r>
              <a:rPr lang="en-US" sz="1000" dirty="0" smtClean="0"/>
              <a:t>Initially, the Client had separate platforms that were unable to converge </a:t>
            </a:r>
            <a:r>
              <a:rPr lang="en-US" sz="1000" dirty="0"/>
              <a:t>without additional enhancement/refinement of </a:t>
            </a:r>
            <a:r>
              <a:rPr lang="en-US" sz="1000" dirty="0" smtClean="0"/>
              <a:t>several technology architecture </a:t>
            </a:r>
            <a:r>
              <a:rPr lang="en-US" sz="1000" dirty="0"/>
              <a:t>components. </a:t>
            </a:r>
          </a:p>
          <a:p>
            <a:endParaRPr lang="en-US" sz="1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pPr marL="171450" indent="-171450">
              <a:buFont typeface="Wingdings" charset="2"/>
              <a:buChar char="§"/>
            </a:pPr>
            <a:r>
              <a:rPr lang="en-US" sz="1000" dirty="0" smtClean="0"/>
              <a:t>Delivered Enhancements and recommendations report, identifying current and future state architecture components</a:t>
            </a:r>
          </a:p>
          <a:p>
            <a:pPr marL="171450" indent="-171450">
              <a:buFont typeface="Wingdings" charset="2"/>
              <a:buChar char="§"/>
            </a:pPr>
            <a:r>
              <a:rPr lang="en-US" sz="1000" dirty="0" smtClean="0"/>
              <a:t>Delivered an updated developer cookbook with new design patterns</a:t>
            </a:r>
          </a:p>
          <a:p>
            <a:pPr marL="171450" indent="-171450">
              <a:buFont typeface="Wingdings" charset="2"/>
              <a:buChar char="§"/>
            </a:pPr>
            <a:r>
              <a:rPr lang="en-US" sz="1000" dirty="0" smtClean="0"/>
              <a:t>Delivered reference application reflecting the future state architecture provided in the recommendations report</a:t>
            </a:r>
            <a:endParaRPr lang="en-US" sz="100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/>
          </a:bodyPr>
          <a:lstStyle/>
          <a:p>
            <a:r>
              <a:rPr lang="en-US" sz="1000" dirty="0" smtClean="0"/>
              <a:t>The Accenture team performed the following activities:</a:t>
            </a:r>
            <a:endParaRPr lang="en-US" sz="1000" dirty="0"/>
          </a:p>
          <a:p>
            <a:pPr marL="171450" indent="-171450">
              <a:buFont typeface="Wingdings" charset="2"/>
              <a:buChar char="§"/>
            </a:pPr>
            <a:r>
              <a:rPr lang="en-US" sz="1000" dirty="0"/>
              <a:t>Review </a:t>
            </a:r>
            <a:r>
              <a:rPr lang="en-US" sz="1000" dirty="0" smtClean="0"/>
              <a:t>architecture </a:t>
            </a:r>
            <a:r>
              <a:rPr lang="en-US" sz="1000" dirty="0"/>
              <a:t>design </a:t>
            </a:r>
            <a:r>
              <a:rPr lang="en-US" sz="1000" dirty="0" smtClean="0"/>
              <a:t>patterns</a:t>
            </a:r>
            <a:endParaRPr lang="en-US" sz="1000" dirty="0"/>
          </a:p>
          <a:p>
            <a:pPr marL="171450" indent="-171450">
              <a:buFont typeface="Wingdings" charset="2"/>
              <a:buChar char="§"/>
            </a:pPr>
            <a:r>
              <a:rPr lang="en-US" sz="1000" dirty="0" smtClean="0"/>
              <a:t>Identify </a:t>
            </a:r>
            <a:r>
              <a:rPr lang="en-US" sz="1000" dirty="0"/>
              <a:t>and explore solution </a:t>
            </a:r>
            <a:r>
              <a:rPr lang="en-US" sz="1000" dirty="0" smtClean="0"/>
              <a:t>paths</a:t>
            </a:r>
          </a:p>
          <a:p>
            <a:pPr marL="171450" indent="-171450">
              <a:buFont typeface="Wingdings" charset="2"/>
              <a:buChar char="§"/>
            </a:pPr>
            <a:r>
              <a:rPr lang="en-US" sz="1000" dirty="0" smtClean="0"/>
              <a:t>Prototype </a:t>
            </a:r>
            <a:r>
              <a:rPr lang="en-US" sz="1000" dirty="0"/>
              <a:t>various </a:t>
            </a:r>
            <a:r>
              <a:rPr lang="en-US" sz="1000" dirty="0" smtClean="0"/>
              <a:t>solutions</a:t>
            </a:r>
          </a:p>
          <a:p>
            <a:pPr marL="171450" indent="-171450">
              <a:buFont typeface="Wingdings" charset="2"/>
              <a:buChar char="§"/>
            </a:pPr>
            <a:r>
              <a:rPr lang="en-US" sz="1000" dirty="0" smtClean="0"/>
              <a:t>Identify </a:t>
            </a:r>
            <a:r>
              <a:rPr lang="en-US" sz="1000" dirty="0"/>
              <a:t>ideal components for enhancement</a:t>
            </a:r>
          </a:p>
          <a:p>
            <a:pPr marL="171450" indent="-171450">
              <a:buFont typeface="Wingdings" charset="2"/>
              <a:buChar char="§"/>
            </a:pPr>
            <a:r>
              <a:rPr lang="en-US" sz="1000" dirty="0"/>
              <a:t>Review current toolset and recommend new tools as appropriate to improve productivity, code quality, and </a:t>
            </a:r>
            <a:r>
              <a:rPr lang="en-US" sz="1000" dirty="0" smtClean="0"/>
              <a:t>integration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>
              <a:buClr>
                <a:schemeClr val="accent1"/>
              </a:buClr>
              <a:buFont typeface="Wingdings" charset="2"/>
              <a:buChar char="§"/>
            </a:pPr>
            <a:r>
              <a:rPr lang="en-US" dirty="0" smtClean="0"/>
              <a:t>Location: North America (USA)</a:t>
            </a:r>
          </a:p>
          <a:p>
            <a:pPr>
              <a:buClr>
                <a:schemeClr val="accent1"/>
              </a:buClr>
              <a:buFont typeface="Wingdings" charset="2"/>
              <a:buChar char="§"/>
            </a:pPr>
            <a:r>
              <a:rPr lang="en-US" dirty="0" smtClean="0"/>
              <a:t>OU: Financial Services (FS) NA</a:t>
            </a:r>
          </a:p>
          <a:p>
            <a:pPr>
              <a:buClr>
                <a:schemeClr val="accent1"/>
              </a:buClr>
              <a:buFont typeface="Wingdings" charset="2"/>
              <a:buChar char="§"/>
            </a:pPr>
            <a:r>
              <a:rPr lang="en-US" dirty="0" smtClean="0"/>
              <a:t>Success: </a:t>
            </a:r>
            <a:r>
              <a:rPr lang="en-US" b="1" dirty="0" smtClean="0"/>
              <a:t>Modern web application platform for online banking</a:t>
            </a:r>
            <a:endParaRPr lang="en-US" b="1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9904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000" dirty="0"/>
              <a:t>Cross-Channel Digital Convergence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Avenir Next Regular"/>
                <a:cs typeface="Avenir Next Regular"/>
              </a:rPr>
              <a:t>Confidential</a:t>
            </a:r>
            <a:endParaRPr lang="en-US">
              <a:latin typeface="Avenir Next Regular"/>
              <a:cs typeface="Avenir Next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720444" y="4777177"/>
            <a:ext cx="358552" cy="274637"/>
          </a:xfrm>
        </p:spPr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venir Next Regular"/>
                <a:cs typeface="Avenir Next Regular"/>
              </a:rPr>
              <a:pPr defTabSz="914400"/>
              <a:t>38</a:t>
            </a:fld>
            <a:endParaRPr lang="en-US">
              <a:latin typeface="Avenir Next Regular"/>
              <a:cs typeface="Avenir Next Regular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black">
          <a:xfrm>
            <a:off x="335311" y="893842"/>
            <a:ext cx="5780921" cy="469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8925" indent="-288925" algn="l" rtl="0" eaLnBrk="0" fontAlgn="base" hangingPunct="0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har char="•"/>
              <a:defRPr>
                <a:solidFill>
                  <a:schemeClr val="tx1"/>
                </a:solidFill>
                <a:latin typeface="+mn-lt"/>
                <a:ea typeface="ヒラギノ角ゴ Pro W3" charset="0"/>
                <a:cs typeface="Geneva" charset="0"/>
              </a:defRPr>
            </a:lvl1pPr>
            <a:lvl2pPr marL="633413" indent="-23018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974725" indent="-227013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312863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1651000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108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5654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0226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4798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sz="12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To support the objectives, the following areas were analyzed and we have provided solution options and recommendations for each: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15681" y="2239944"/>
            <a:ext cx="327467" cy="4322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510" y="2873007"/>
            <a:ext cx="412303" cy="4139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87" y="3507491"/>
            <a:ext cx="417570" cy="41757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87" y="4140618"/>
            <a:ext cx="452367" cy="4523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9223" y="1653788"/>
            <a:ext cx="469704" cy="32879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712" y="2297929"/>
            <a:ext cx="668047" cy="32187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1796" y="2873007"/>
            <a:ext cx="280120" cy="40017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9573" y="3521153"/>
            <a:ext cx="459620" cy="40390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0508" y="4141500"/>
            <a:ext cx="678461" cy="45148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11" y="1641556"/>
            <a:ext cx="517813" cy="4325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63854" y="1669177"/>
            <a:ext cx="2160345" cy="41125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New patterns for cross-channel architectur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63854" y="2348250"/>
            <a:ext cx="198889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Runtime templat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63854" y="2947849"/>
            <a:ext cx="198889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Web accessibility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63854" y="3602306"/>
            <a:ext cx="198889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Search engine optimiz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63854" y="4156007"/>
            <a:ext cx="1988891" cy="41125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Content management &amp; personalizati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127341" y="1669177"/>
            <a:ext cx="1988891" cy="41125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Page-flow management &amp; sequence protec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127341" y="2348250"/>
            <a:ext cx="198889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Third-party integra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127341" y="2947849"/>
            <a:ext cx="198889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Caching and data storag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127341" y="3517668"/>
            <a:ext cx="1988891" cy="41125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User interface technology selectio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127341" y="4240645"/>
            <a:ext cx="1988891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l"/>
            <a:r>
              <a:rPr lang="en-US" sz="1100" dirty="0" smtClean="0">
                <a:latin typeface="Avenir Next Regular"/>
                <a:cs typeface="Avenir Next Regular"/>
              </a:rPr>
              <a:t>Responsive web design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2979" y="1138570"/>
            <a:ext cx="366527" cy="366527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4184" y="1137524"/>
            <a:ext cx="435251" cy="365049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4712" y="1774183"/>
            <a:ext cx="369736" cy="369736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6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4712" y="2451797"/>
            <a:ext cx="376316" cy="344453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4292" y="3110635"/>
            <a:ext cx="281209" cy="34845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7082" y="3067602"/>
            <a:ext cx="275633" cy="37679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3025" y="4270950"/>
            <a:ext cx="358003" cy="358003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2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21203" y="4339170"/>
            <a:ext cx="852389" cy="225603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428307" y="636473"/>
            <a:ext cx="2739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200" b="1" cap="small" dirty="0" smtClean="0">
                <a:solidFill>
                  <a:schemeClr val="accent1"/>
                </a:solidFill>
                <a:latin typeface="Avenir Next Regular"/>
                <a:cs typeface="Avenir Next Regular"/>
              </a:rPr>
              <a:t>technology stack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6554513" y="917509"/>
            <a:ext cx="24846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6554513" y="1646240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6558039" y="2303523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6545901" y="2931390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545901" y="3594051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6558039" y="4187750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6573815" y="1040946"/>
            <a:ext cx="2104834" cy="5745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Dependency / Package Management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b="1" dirty="0" err="1" smtClean="0">
                <a:solidFill>
                  <a:srgbClr val="CA2F31"/>
                </a:solidFill>
                <a:latin typeface="Avenir Next Regular"/>
                <a:cs typeface="Avenir Next Regular"/>
              </a:rPr>
              <a:t>Require.js</a:t>
            </a:r>
            <a:r>
              <a:rPr lang="en-US" sz="800" b="1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, Bower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566639" y="1773478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Client-side Template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b="1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Handlebars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558751" y="2375622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Native Shell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b="1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Phonegap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554513" y="3049658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Client-side MVC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b="1" dirty="0" smtClean="0">
                <a:solidFill>
                  <a:schemeClr val="accent1"/>
                </a:solidFill>
                <a:latin typeface="Avenir Next Regular"/>
                <a:cs typeface="Avenir Next Regular"/>
              </a:rPr>
              <a:t>Backbone,</a:t>
            </a:r>
            <a:r>
              <a:rPr lang="en-US" sz="800" b="1" dirty="0">
                <a:solidFill>
                  <a:schemeClr val="accent1"/>
                </a:solidFill>
                <a:latin typeface="Avenir Next Regular"/>
                <a:cs typeface="Avenir Next Regular"/>
              </a:rPr>
              <a:t> </a:t>
            </a:r>
            <a:r>
              <a:rPr lang="en-US" sz="800" b="1" dirty="0" smtClean="0">
                <a:solidFill>
                  <a:schemeClr val="accent1"/>
                </a:solidFill>
                <a:latin typeface="Avenir Next Regular"/>
                <a:cs typeface="Avenir Next Regular"/>
              </a:rPr>
              <a:t>Marionette</a:t>
            </a:r>
          </a:p>
        </p:txBody>
      </p:sp>
      <p:sp>
        <p:nvSpPr>
          <p:cNvPr id="60" name="Rectangle 59"/>
          <p:cNvSpPr/>
          <p:nvPr/>
        </p:nvSpPr>
        <p:spPr>
          <a:xfrm>
            <a:off x="6554513" y="3613234"/>
            <a:ext cx="2104834" cy="54373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UI Librarie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b="1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jQuery, Underscore </a:t>
            </a: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/>
            </a:r>
            <a:b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</a:br>
            <a:endParaRPr lang="en-US" sz="800" dirty="0" smtClean="0">
              <a:solidFill>
                <a:srgbClr val="CA2F31"/>
              </a:solidFill>
              <a:latin typeface="Avenir Next Regular"/>
              <a:cs typeface="Avenir Next Regular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545901" y="4211632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Build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b="1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Maven, Grun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272" y="3613234"/>
            <a:ext cx="902458" cy="54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2236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User Interface Reference Archite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Create a modular, high performance, and fully capable reference architecture using the latest technology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Produce capable architecture ‘building blocks’ capable of being used by project teams within a few week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Prove technologies are enterprise-ready, higher performing than incumbent tech, and able to be adopted by client delivery team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All technologies proven; received go-ahead after high performance demo app created. 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Generators, scaffolds, and several other key foundational building blocks created for UI and Web API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Successfully began first implementation projects using new UI RA after only 4 month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Create high quality, fully documented reference architecture building blocks on GitHub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Demo and evangelize components with delivery groups; train resources, help architect application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Deliver building blocks and components consistently after technologies are proven out 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smtClean="0"/>
              <a:t>Location: North America (USA)</a:t>
            </a:r>
          </a:p>
          <a:p>
            <a:r>
              <a:rPr lang="en-US" dirty="0" smtClean="0"/>
              <a:t>OU: Communications, Media, and Technology</a:t>
            </a:r>
          </a:p>
          <a:p>
            <a:r>
              <a:rPr lang="en-US" dirty="0" smtClean="0"/>
              <a:t>Success: </a:t>
            </a:r>
            <a:r>
              <a:rPr lang="en-US" b="1" dirty="0" smtClean="0"/>
              <a:t>User Interface Reference Architecture (UIRA) for major entertainment and travel company’s future UI applications.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39</a:t>
            </a:fld>
            <a:endParaRPr lang="en-US"/>
          </a:p>
        </p:txBody>
      </p:sp>
      <p:pic>
        <p:nvPicPr>
          <p:cNvPr id="12" name="Picture 11" descr="Screen Shot 2014-11-20 at 7.15.08 PM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9766" y="351898"/>
            <a:ext cx="1585590" cy="1018540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 descr="Screen Shot 2014-11-20 at 7.12.38 PM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6834" y="316230"/>
            <a:ext cx="1529284" cy="894080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3" name="Picture 12" descr="Screen Shot 2014-11-20 at 7.14.50 PM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9086" y="1177459"/>
            <a:ext cx="1135034" cy="622616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4" name="Picture 13" descr="Screen Shot 2014-11-20 at 7.14.30 PM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5892" y="1210310"/>
            <a:ext cx="1741544" cy="1047858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692530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Solution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733778" y="2277262"/>
            <a:ext cx="2439537" cy="988742"/>
          </a:xfrm>
          <a:prstGeom prst="rect">
            <a:avLst/>
          </a:prstGeom>
          <a:noFill/>
        </p:spPr>
        <p:txBody>
          <a:bodyPr wrap="square" lIns="68589" tIns="34295" rIns="68589" bIns="34295">
            <a:spAutoFit/>
          </a:bodyPr>
          <a:lstStyle/>
          <a:p>
            <a:pPr algn="r">
              <a:spcAft>
                <a:spcPts val="450"/>
              </a:spcAft>
            </a:pPr>
            <a:r>
              <a:rPr lang="en-US" sz="1400" dirty="0" smtClean="0">
                <a:solidFill>
                  <a:srgbClr val="FC1453"/>
                </a:solidFill>
              </a:rPr>
              <a:t>Responsive Design Evolved</a:t>
            </a:r>
            <a:endParaRPr lang="en-US" sz="1050" dirty="0" smtClean="0">
              <a:solidFill>
                <a:schemeClr val="bg1"/>
              </a:solidFill>
            </a:endParaRPr>
          </a:p>
          <a:p>
            <a:pPr algn="r">
              <a:spcAft>
                <a:spcPts val="450"/>
              </a:spcAft>
            </a:pPr>
            <a:r>
              <a:rPr lang="en-US" sz="1050" dirty="0" smtClean="0">
                <a:solidFill>
                  <a:srgbClr val="262626"/>
                </a:solidFill>
              </a:rPr>
              <a:t>Designing to what the user needs rather than being forced down narrow pathways by limiting, outdated technology</a:t>
            </a:r>
            <a:r>
              <a:rPr lang="en-US" sz="1000" dirty="0" smtClean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42738" y="491553"/>
            <a:ext cx="2583352" cy="988742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>
              <a:spcAft>
                <a:spcPts val="450"/>
              </a:spcAft>
            </a:pPr>
            <a:r>
              <a:rPr lang="en-US" sz="1400" dirty="0" smtClean="0">
                <a:solidFill>
                  <a:srgbClr val="008000"/>
                </a:solidFill>
              </a:rPr>
              <a:t>Lightweight Architecture</a:t>
            </a:r>
          </a:p>
          <a:p>
            <a:pPr algn="ctr">
              <a:spcAft>
                <a:spcPts val="450"/>
              </a:spcAft>
            </a:pPr>
            <a:r>
              <a:rPr lang="en-US" sz="105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pproach to build scalable, high performance applications quickly, using repeatable processes and the right technology ecosystem.</a:t>
            </a:r>
            <a:endParaRPr lang="en-US" sz="105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991618" y="2301076"/>
            <a:ext cx="2838224" cy="1165714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>
              <a:spcAft>
                <a:spcPts val="450"/>
              </a:spcAft>
            </a:pPr>
            <a:r>
              <a:rPr lang="en-US" sz="1500" dirty="0" smtClean="0">
                <a:solidFill>
                  <a:schemeClr val="accent3">
                    <a:lumMod val="75000"/>
                  </a:schemeClr>
                </a:solidFill>
              </a:rPr>
              <a:t>Modern Web Technology</a:t>
            </a:r>
          </a:p>
          <a:p>
            <a:pPr>
              <a:spcAft>
                <a:spcPts val="450"/>
              </a:spcAft>
            </a:pPr>
            <a:r>
              <a:rPr lang="en-US" sz="1050" dirty="0" smtClean="0">
                <a:solidFill>
                  <a:srgbClr val="262626"/>
                </a:solidFill>
              </a:rPr>
              <a:t>HTML5/CSS and JavaScript based applications combined with APIs allow for a common UI platform and single app codebase that is both responsive and inherently cross-platform.</a:t>
            </a:r>
            <a:endParaRPr lang="en-US" sz="1050" i="1" dirty="0">
              <a:solidFill>
                <a:srgbClr val="26262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5622" y="1817257"/>
            <a:ext cx="2260793" cy="2250350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211401" y="2507780"/>
            <a:ext cx="345410" cy="343989"/>
            <a:chOff x="3409384" y="2158508"/>
            <a:chExt cx="345410" cy="34398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09384" y="2158508"/>
              <a:ext cx="345410" cy="343989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02770" y="2173449"/>
              <a:ext cx="165288" cy="305249"/>
            </a:xfrm>
            <a:prstGeom prst="rect">
              <a:avLst/>
            </a:prstGeom>
          </p:spPr>
        </p:pic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767" y="1512178"/>
            <a:ext cx="328431" cy="32707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1578" y="1497859"/>
            <a:ext cx="370815" cy="370815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>
            <a:off x="5672520" y="2538152"/>
            <a:ext cx="321235" cy="32123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7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0344" y="2601139"/>
            <a:ext cx="193275" cy="219360"/>
          </a:xfrm>
          <a:prstGeom prst="rect">
            <a:avLst/>
          </a:prstGeom>
        </p:spPr>
      </p:pic>
      <p:sp>
        <p:nvSpPr>
          <p:cNvPr id="23" name="Oval 22"/>
          <p:cNvSpPr/>
          <p:nvPr/>
        </p:nvSpPr>
        <p:spPr>
          <a:xfrm>
            <a:off x="3767129" y="3823416"/>
            <a:ext cx="321235" cy="321235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3205" y="3880463"/>
            <a:ext cx="201649" cy="209177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1053353" y="3864517"/>
            <a:ext cx="2727782" cy="827160"/>
          </a:xfrm>
          <a:prstGeom prst="rect">
            <a:avLst/>
          </a:prstGeom>
          <a:noFill/>
        </p:spPr>
        <p:txBody>
          <a:bodyPr wrap="square" lIns="68589" tIns="34295" rIns="68589" bIns="34295">
            <a:spAutoFit/>
          </a:bodyPr>
          <a:lstStyle/>
          <a:p>
            <a:pPr algn="r">
              <a:spcAft>
                <a:spcPts val="450"/>
              </a:spcAft>
            </a:pPr>
            <a:r>
              <a:rPr lang="en-US" sz="1400" dirty="0" smtClean="0">
                <a:solidFill>
                  <a:schemeClr val="accent4">
                    <a:lumMod val="75000"/>
                  </a:schemeClr>
                </a:solidFill>
              </a:rPr>
              <a:t>DevOps</a:t>
            </a:r>
            <a:endParaRPr lang="en-US" sz="105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r">
              <a:spcAft>
                <a:spcPts val="450"/>
              </a:spcAft>
            </a:pPr>
            <a:r>
              <a:rPr lang="en-US" sz="1050" dirty="0" smtClean="0">
                <a:solidFill>
                  <a:srgbClr val="262626"/>
                </a:solidFill>
              </a:rPr>
              <a:t>The intersection of Development, QA, and Operations that focuses on automation, quality, and agility in delivery</a:t>
            </a:r>
            <a:endParaRPr lang="en-US" sz="1050" dirty="0" smtClean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177116" y="3793065"/>
            <a:ext cx="321235" cy="321235"/>
            <a:chOff x="5177116" y="3793065"/>
            <a:chExt cx="321235" cy="321235"/>
          </a:xfrm>
        </p:grpSpPr>
        <p:sp>
          <p:nvSpPr>
            <p:cNvPr id="26" name="Oval 25"/>
            <p:cNvSpPr/>
            <p:nvPr/>
          </p:nvSpPr>
          <p:spPr>
            <a:xfrm>
              <a:off x="5177116" y="3793065"/>
              <a:ext cx="321235" cy="321235"/>
            </a:xfrm>
            <a:prstGeom prst="ellipse">
              <a:avLst/>
            </a:prstGeom>
            <a:solidFill>
              <a:srgbClr val="E46C0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9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44355" y="3882718"/>
              <a:ext cx="200297" cy="151426"/>
            </a:xfrm>
            <a:prstGeom prst="rect">
              <a:avLst/>
            </a:prstGeom>
          </p:spPr>
        </p:pic>
      </p:grpSp>
      <p:sp>
        <p:nvSpPr>
          <p:cNvPr id="28" name="Rectangle 27"/>
          <p:cNvSpPr/>
          <p:nvPr/>
        </p:nvSpPr>
        <p:spPr>
          <a:xfrm>
            <a:off x="5484719" y="3856579"/>
            <a:ext cx="2320127" cy="848960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>
              <a:spcAft>
                <a:spcPts val="450"/>
              </a:spcAft>
            </a:pPr>
            <a:r>
              <a:rPr lang="en-US" sz="1500" dirty="0" smtClean="0">
                <a:solidFill>
                  <a:srgbClr val="FF7A00"/>
                </a:solidFill>
              </a:rPr>
              <a:t>Reference Architectures</a:t>
            </a:r>
          </a:p>
          <a:p>
            <a:pPr>
              <a:spcAft>
                <a:spcPts val="450"/>
              </a:spcAft>
            </a:pPr>
            <a:r>
              <a:rPr lang="en-US" sz="1050" dirty="0" smtClean="0">
                <a:solidFill>
                  <a:srgbClr val="262626"/>
                </a:solidFill>
              </a:rPr>
              <a:t>Reusable assets including Scaffolds and Boiler templates to jumpstart development efforts</a:t>
            </a:r>
            <a:endParaRPr lang="en-US" sz="1050" i="1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0115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8" grpId="0"/>
      <p:bldP spid="25" grpId="0"/>
      <p:bldP spid="2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207" y="43490"/>
            <a:ext cx="6041782" cy="826724"/>
          </a:xfrm>
        </p:spPr>
        <p:txBody>
          <a:bodyPr anchor="t"/>
          <a:lstStyle/>
          <a:p>
            <a:r>
              <a:rPr lang="en-US" dirty="0" smtClean="0"/>
              <a:t>User Interface Reference Archite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dirty="0" smtClean="0">
                <a:latin typeface="Avenir Next Regular"/>
                <a:cs typeface="Avenir Next Regular"/>
              </a:rPr>
              <a:t>Confidential</a:t>
            </a:r>
            <a:endParaRPr lang="en-US" dirty="0">
              <a:latin typeface="Avenir Next Regular"/>
              <a:cs typeface="Avenir Next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venir Next Regular"/>
                <a:cs typeface="Avenir Next Regular"/>
              </a:rPr>
              <a:pPr defTabSz="914400"/>
              <a:t>40</a:t>
            </a:fld>
            <a:endParaRPr lang="en-US">
              <a:latin typeface="Avenir Next Regular"/>
              <a:cs typeface="Avenir Next Regular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04941" y="199483"/>
            <a:ext cx="2739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200" b="1" cap="small" dirty="0" smtClean="0">
                <a:solidFill>
                  <a:schemeClr val="accent1"/>
                </a:solidFill>
                <a:latin typeface="Avenir Next Regular"/>
                <a:cs typeface="Avenir Next Regular"/>
              </a:rPr>
              <a:t>technology stack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531147" y="480519"/>
            <a:ext cx="24846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550449" y="603956"/>
            <a:ext cx="2104834" cy="59503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UI, UI Development, Web Server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AngularJS, Bluebird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Yeoman, Bower</a:t>
            </a:r>
          </a:p>
        </p:txBody>
      </p:sp>
      <p:sp>
        <p:nvSpPr>
          <p:cNvPr id="9" name="Rectangle 8"/>
          <p:cNvSpPr/>
          <p:nvPr/>
        </p:nvSpPr>
        <p:spPr>
          <a:xfrm>
            <a:off x="6531147" y="1516437"/>
            <a:ext cx="2104834" cy="59503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Web API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NodeJS, Bluebird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Restify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50449" y="2147478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API Caching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Redis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6490508" y="1473410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531147" y="2123478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images.jpg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1361" y="576866"/>
            <a:ext cx="490274" cy="490274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6531146" y="2838599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550449" y="2921905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Version Control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Github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531146" y="3342533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6490508" y="3420999"/>
            <a:ext cx="1594936" cy="94384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Testing / DevOp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Jenkins, Grunt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Mocha, Chai, Sinon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Karma, Protractor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800" dirty="0" smtClean="0">
              <a:solidFill>
                <a:srgbClr val="CA2F31"/>
              </a:solidFill>
              <a:latin typeface="Avenir Next Regular"/>
              <a:cs typeface="Avenir Next Regular"/>
            </a:endParaRPr>
          </a:p>
        </p:txBody>
      </p:sp>
      <p:pic>
        <p:nvPicPr>
          <p:cNvPr id="23" name="Picture 22" descr="GitHub-Mark.png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757" y="2864106"/>
            <a:ext cx="478427" cy="478427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335311" y="1354584"/>
            <a:ext cx="5757363" cy="278113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NodeJS </a:t>
            </a:r>
            <a:r>
              <a:rPr lang="en-US" sz="1100" dirty="0">
                <a:latin typeface="Avenir Next Regular"/>
                <a:cs typeface="Avenir Next Regular"/>
              </a:rPr>
              <a:t>– All </a:t>
            </a:r>
            <a:r>
              <a:rPr lang="en-US" sz="1100" dirty="0" smtClean="0">
                <a:latin typeface="Avenir Next Regular"/>
                <a:cs typeface="Avenir Next Regular"/>
              </a:rPr>
              <a:t>of the </a:t>
            </a:r>
            <a:r>
              <a:rPr lang="en-US" sz="1100" dirty="0">
                <a:latin typeface="Avenir Next Regular"/>
                <a:cs typeface="Avenir Next Regular"/>
              </a:rPr>
              <a:t>server side development was done using </a:t>
            </a:r>
            <a:r>
              <a:rPr lang="en-US" sz="1100" dirty="0" smtClean="0">
                <a:latin typeface="Avenir Next Regular"/>
                <a:cs typeface="Avenir Next Regular"/>
              </a:rPr>
              <a:t>Node.JS</a:t>
            </a: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Restful APIs </a:t>
            </a:r>
            <a:r>
              <a:rPr lang="en-US" sz="1100" dirty="0">
                <a:latin typeface="Avenir Next Regular"/>
                <a:cs typeface="Avenir Next Regular"/>
              </a:rPr>
              <a:t>were written </a:t>
            </a:r>
            <a:r>
              <a:rPr lang="en-US" sz="1100" dirty="0" smtClean="0">
                <a:latin typeface="Avenir Next Regular"/>
                <a:cs typeface="Avenir Next Regular"/>
              </a:rPr>
              <a:t>with Restify using the promises pattern via Bluebird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The UI was </a:t>
            </a:r>
            <a:r>
              <a:rPr lang="en-US" sz="1100" dirty="0">
                <a:latin typeface="Avenir Next Regular"/>
                <a:cs typeface="Avenir Next Regular"/>
              </a:rPr>
              <a:t>developed using </a:t>
            </a:r>
            <a:r>
              <a:rPr lang="en-US" sz="1100" dirty="0" smtClean="0">
                <a:latin typeface="Avenir Next Regular"/>
                <a:cs typeface="Avenir Next Regular"/>
              </a:rPr>
              <a:t>AngularJS, served by Express, </a:t>
            </a:r>
            <a:r>
              <a:rPr lang="en-US" sz="1100" dirty="0">
                <a:latin typeface="Avenir Next Regular"/>
                <a:cs typeface="Avenir Next Regular"/>
              </a:rPr>
              <a:t>which also consumed </a:t>
            </a:r>
            <a:r>
              <a:rPr lang="en-US" sz="1100" dirty="0" smtClean="0">
                <a:latin typeface="Avenir Next Regular"/>
                <a:cs typeface="Avenir Next Regular"/>
              </a:rPr>
              <a:t>the </a:t>
            </a:r>
            <a:r>
              <a:rPr lang="en-US" sz="1100" dirty="0">
                <a:latin typeface="Avenir Next Regular"/>
                <a:cs typeface="Avenir Next Regular"/>
              </a:rPr>
              <a:t>web services written in </a:t>
            </a:r>
            <a:r>
              <a:rPr lang="en-US" sz="1100" dirty="0" smtClean="0">
                <a:latin typeface="Avenir Next Regular"/>
                <a:cs typeface="Avenir Next Regular"/>
              </a:rPr>
              <a:t>NodeJS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Redis was used to ‘stash’ API responses, which combined with node.js services for extremely high performance and concurrency</a:t>
            </a: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An integrated JavaScript testing suite of Mocha, Chai, and Sinon was used through Grunt, Protractor, and Karma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Fully functional DevOps with analysis, testing, and deployment was created; utilizing Jenkins and Grunt along with the testing tools above and analysis tools like </a:t>
            </a:r>
            <a:r>
              <a:rPr lang="en-US" sz="1100" dirty="0" err="1" smtClean="0">
                <a:latin typeface="Avenir Next Regular"/>
                <a:cs typeface="Avenir Next Regular"/>
              </a:rPr>
              <a:t>jsHint</a:t>
            </a:r>
            <a:r>
              <a:rPr lang="en-US" sz="1100" dirty="0" smtClean="0">
                <a:latin typeface="Avenir Next Regular"/>
                <a:cs typeface="Avenir Next Regular"/>
              </a:rPr>
              <a:t>, </a:t>
            </a:r>
            <a:r>
              <a:rPr lang="en-US" sz="1100" dirty="0" err="1" smtClean="0">
                <a:latin typeface="Avenir Next Regular"/>
                <a:cs typeface="Avenir Next Regular"/>
              </a:rPr>
              <a:t>jscs</a:t>
            </a:r>
            <a:r>
              <a:rPr lang="en-US" sz="1100" dirty="0" smtClean="0">
                <a:latin typeface="Avenir Next Regular"/>
                <a:cs typeface="Avenir Next Regular"/>
              </a:rPr>
              <a:t>, and Plato</a:t>
            </a:r>
            <a:endParaRPr lang="en-US" sz="1100" dirty="0">
              <a:latin typeface="Avenir Next Regular"/>
              <a:cs typeface="Avenir Next Regular"/>
            </a:endParaRPr>
          </a:p>
        </p:txBody>
      </p:sp>
      <p:sp>
        <p:nvSpPr>
          <p:cNvPr id="25" name="Content Placeholder 2"/>
          <p:cNvSpPr txBox="1">
            <a:spLocks/>
          </p:cNvSpPr>
          <p:nvPr/>
        </p:nvSpPr>
        <p:spPr bwMode="black">
          <a:xfrm>
            <a:off x="335311" y="893842"/>
            <a:ext cx="5780921" cy="469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8925" indent="-288925" algn="l" rtl="0" eaLnBrk="0" fontAlgn="base" hangingPunct="0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har char="•"/>
              <a:defRPr>
                <a:solidFill>
                  <a:schemeClr val="tx1"/>
                </a:solidFill>
                <a:latin typeface="+mn-lt"/>
                <a:ea typeface="ヒラギノ角ゴ Pro W3" charset="0"/>
                <a:cs typeface="Geneva" charset="0"/>
              </a:defRPr>
            </a:lvl1pPr>
            <a:lvl2pPr marL="633413" indent="-23018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974725" indent="-227013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312863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1651000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108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5654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0226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4798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sz="12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To support the objectives, the following areas were analyzed and we have provided solution options and recommendations for each: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44" y="2255520"/>
            <a:ext cx="526989" cy="45299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5444" y="1776362"/>
            <a:ext cx="998009" cy="27513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1127" y="3793219"/>
            <a:ext cx="424853" cy="383247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8635981" y="3793219"/>
            <a:ext cx="444654" cy="318409"/>
            <a:chOff x="6673844" y="1481449"/>
            <a:chExt cx="805577" cy="723951"/>
          </a:xfrm>
        </p:grpSpPr>
        <p:sp>
          <p:nvSpPr>
            <p:cNvPr id="29" name="Oval 28"/>
            <p:cNvSpPr/>
            <p:nvPr/>
          </p:nvSpPr>
          <p:spPr>
            <a:xfrm>
              <a:off x="6722114" y="1481449"/>
              <a:ext cx="694686" cy="723951"/>
            </a:xfrm>
            <a:prstGeom prst="ellipse">
              <a:avLst/>
            </a:prstGeom>
            <a:solidFill>
              <a:srgbClr val="99663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673844" y="1647871"/>
              <a:ext cx="805577" cy="419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b="1" dirty="0" smtClean="0">
                  <a:solidFill>
                    <a:schemeClr val="bg1">
                      <a:lumMod val="95000"/>
                    </a:schemeClr>
                  </a:solidFill>
                  <a:latin typeface="Avenir Next Regular"/>
                  <a:cs typeface="Avenir Next Regular"/>
                </a:rPr>
                <a:t>mocha</a:t>
              </a:r>
              <a:endParaRPr lang="en-US" sz="600" b="1" dirty="0">
                <a:solidFill>
                  <a:schemeClr val="bg1">
                    <a:lumMod val="95000"/>
                  </a:schemeClr>
                </a:solidFill>
                <a:latin typeface="Avenir Next Regular"/>
                <a:cs typeface="Avenir Next Regular"/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346" y="4200251"/>
            <a:ext cx="354772" cy="36515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4198" y="4222746"/>
            <a:ext cx="321783" cy="34266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0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5821" y="4254762"/>
            <a:ext cx="208643" cy="255979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521" y="3420999"/>
            <a:ext cx="293638" cy="3142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6944" y="3851877"/>
            <a:ext cx="297520" cy="32458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6422" y="1027076"/>
            <a:ext cx="515213" cy="44633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8164" y="1067140"/>
            <a:ext cx="391578" cy="39157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382" y="1473410"/>
            <a:ext cx="431836" cy="412403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6119" y="3342533"/>
            <a:ext cx="509344" cy="50934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546" y="4222746"/>
            <a:ext cx="413398" cy="320722"/>
          </a:xfrm>
          <a:prstGeom prst="rect">
            <a:avLst/>
          </a:prstGeom>
        </p:spPr>
      </p:pic>
      <p:pic>
        <p:nvPicPr>
          <p:cNvPr id="40" name="Picture 39" descr="express.png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322" y="1019236"/>
            <a:ext cx="423805" cy="42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02039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375" r="375"/>
          <a:stretch>
            <a:fillRect/>
          </a:stretch>
        </p:blipFill>
        <p:spPr>
          <a:xfrm>
            <a:off x="6525386" y="96553"/>
            <a:ext cx="2546139" cy="2013713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Management Softwa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Create an application able to serve Desktop thick client capabilities (document management/editing, seamless screen transitions, etc.) with a Web application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Build a system capable of working and enhancing client’s business processes such that case load is reduced and users become more productiv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Outstanding user experience in an application that the client is already proudly showing to other government department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Scalable API-based lightweight architectur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Design end-to-end custom system using lightweight architecture principle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Create UI that provides end users with a desktop-like user experience, on the browser, by working </a:t>
            </a:r>
            <a:r>
              <a:rPr lang="en-US" dirty="0"/>
              <a:t>closely with Fjord UX team to match aspirational service </a:t>
            </a:r>
            <a:r>
              <a:rPr lang="en-US" dirty="0" smtClean="0"/>
              <a:t>design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Location: </a:t>
            </a:r>
            <a:r>
              <a:rPr lang="en-US" dirty="0" smtClean="0"/>
              <a:t>Nordics</a:t>
            </a:r>
            <a:endParaRPr lang="en-US" dirty="0"/>
          </a:p>
          <a:p>
            <a:r>
              <a:rPr lang="en-US" dirty="0"/>
              <a:t>OU: </a:t>
            </a:r>
            <a:r>
              <a:rPr lang="en-US" dirty="0" smtClean="0"/>
              <a:t>Health &amp; Public Service</a:t>
            </a:r>
            <a:endParaRPr lang="en-US" dirty="0"/>
          </a:p>
          <a:p>
            <a:r>
              <a:rPr lang="en-US" dirty="0"/>
              <a:t>Success: </a:t>
            </a:r>
            <a:r>
              <a:rPr lang="en-US" b="1" dirty="0" smtClean="0"/>
              <a:t>Building a custom case management solution for major government agency that fit their use case and allowed maximum flexibility and usability.</a:t>
            </a:r>
            <a:endParaRPr lang="en-US" b="1" dirty="0"/>
          </a:p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18997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207" y="43490"/>
            <a:ext cx="6041782" cy="826724"/>
          </a:xfrm>
        </p:spPr>
        <p:txBody>
          <a:bodyPr anchor="t"/>
          <a:lstStyle/>
          <a:p>
            <a:r>
              <a:rPr lang="en-US" dirty="0" smtClean="0"/>
              <a:t>Case Management Softwa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dirty="0" smtClean="0">
                <a:latin typeface="Avenir Next Regular"/>
                <a:cs typeface="Avenir Next Regular"/>
              </a:rPr>
              <a:t>Confidential</a:t>
            </a:r>
            <a:endParaRPr lang="en-US" dirty="0">
              <a:latin typeface="Avenir Next Regular"/>
              <a:cs typeface="Avenir Next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venir Next Regular"/>
                <a:cs typeface="Avenir Next Regular"/>
              </a:rPr>
              <a:pPr defTabSz="914400"/>
              <a:t>42</a:t>
            </a:fld>
            <a:endParaRPr lang="en-US">
              <a:latin typeface="Avenir Next Regular"/>
              <a:cs typeface="Avenir Next Regular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04941" y="199483"/>
            <a:ext cx="2739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200" b="1" cap="small" dirty="0" smtClean="0">
                <a:solidFill>
                  <a:schemeClr val="accent1"/>
                </a:solidFill>
                <a:latin typeface="Avenir Next Regular"/>
                <a:cs typeface="Avenir Next Regular"/>
              </a:rPr>
              <a:t>technology stack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531147" y="480519"/>
            <a:ext cx="24846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550449" y="603956"/>
            <a:ext cx="2104834" cy="59503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UI, UI Development</a:t>
            </a:r>
            <a:endParaRPr lang="en-US" sz="1000" dirty="0">
              <a:solidFill>
                <a:schemeClr val="tx2"/>
              </a:solidFill>
              <a:latin typeface="Avenir Next Regular"/>
              <a:cs typeface="Avenir Next Regular"/>
            </a:endParaRP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err="1" smtClean="0">
                <a:solidFill>
                  <a:srgbClr val="CA2F31"/>
                </a:solidFill>
                <a:latin typeface="Avenir Next Regular"/>
                <a:cs typeface="Avenir Next Regular"/>
              </a:rPr>
              <a:t>AngularJS</a:t>
            </a:r>
            <a:endParaRPr lang="en-US" sz="800" dirty="0" smtClean="0">
              <a:solidFill>
                <a:srgbClr val="CA2F31"/>
              </a:solidFill>
              <a:latin typeface="Avenir Next Regular"/>
              <a:cs typeface="Avenir Next Regular"/>
            </a:endParaRP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Yeoman, Bower</a:t>
            </a:r>
          </a:p>
        </p:txBody>
      </p:sp>
      <p:sp>
        <p:nvSpPr>
          <p:cNvPr id="9" name="Rectangle 8"/>
          <p:cNvSpPr/>
          <p:nvPr/>
        </p:nvSpPr>
        <p:spPr>
          <a:xfrm>
            <a:off x="6531147" y="1516437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Web API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Jav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50449" y="2147478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API Caching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>
                <a:solidFill>
                  <a:srgbClr val="CA2F31"/>
                </a:solidFill>
                <a:latin typeface="Avenir Next Regular"/>
                <a:cs typeface="Avenir Next Regular"/>
              </a:rPr>
              <a:t>?</a:t>
            </a:r>
            <a:endParaRPr lang="en-US" sz="800" dirty="0" smtClean="0">
              <a:solidFill>
                <a:srgbClr val="CA2F31"/>
              </a:solidFill>
              <a:latin typeface="Avenir Next Regular"/>
              <a:cs typeface="Avenir Next Regular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6490508" y="1473410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531147" y="2123478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images.jpg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1361" y="576866"/>
            <a:ext cx="490274" cy="490274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6531146" y="2838599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550449" y="2921905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Version Control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Atlassian Stash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531146" y="3342533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6490508" y="3420999"/>
            <a:ext cx="1594936" cy="94384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Testing / DevOp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Jenkins, Grunt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Jasmine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Karma, Protractor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800" dirty="0" smtClean="0">
              <a:solidFill>
                <a:srgbClr val="CA2F31"/>
              </a:solidFill>
              <a:latin typeface="Avenir Next Regular"/>
              <a:cs typeface="Avenir Next Regular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35311" y="1523861"/>
            <a:ext cx="5757363" cy="2442582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NodeJS </a:t>
            </a:r>
            <a:r>
              <a:rPr lang="en-US" sz="1100" dirty="0">
                <a:latin typeface="Avenir Next Regular"/>
                <a:cs typeface="Avenir Next Regular"/>
              </a:rPr>
              <a:t>– All </a:t>
            </a:r>
            <a:r>
              <a:rPr lang="en-US" sz="1100" dirty="0" smtClean="0">
                <a:latin typeface="Avenir Next Regular"/>
                <a:cs typeface="Avenir Next Regular"/>
              </a:rPr>
              <a:t>of the </a:t>
            </a:r>
            <a:r>
              <a:rPr lang="en-US" sz="1100" dirty="0">
                <a:latin typeface="Avenir Next Regular"/>
                <a:cs typeface="Avenir Next Regular"/>
              </a:rPr>
              <a:t>server side development was done using </a:t>
            </a:r>
            <a:r>
              <a:rPr lang="en-US" sz="1100" dirty="0" smtClean="0">
                <a:latin typeface="Avenir Next Regular"/>
                <a:cs typeface="Avenir Next Regular"/>
              </a:rPr>
              <a:t>Node.JS</a:t>
            </a: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Restful APIs </a:t>
            </a:r>
            <a:r>
              <a:rPr lang="en-US" sz="1100" dirty="0">
                <a:latin typeface="Avenir Next Regular"/>
                <a:cs typeface="Avenir Next Regular"/>
              </a:rPr>
              <a:t>were written </a:t>
            </a:r>
            <a:r>
              <a:rPr lang="en-US" sz="1100" dirty="0" smtClean="0">
                <a:latin typeface="Avenir Next Regular"/>
                <a:cs typeface="Avenir Next Regular"/>
              </a:rPr>
              <a:t>in Java using a lightweight approach, and utilized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The UI was </a:t>
            </a:r>
            <a:r>
              <a:rPr lang="en-US" sz="1100" dirty="0">
                <a:latin typeface="Avenir Next Regular"/>
                <a:cs typeface="Avenir Next Regular"/>
              </a:rPr>
              <a:t>developed using </a:t>
            </a:r>
            <a:r>
              <a:rPr lang="en-US" sz="1100" dirty="0" err="1" smtClean="0">
                <a:latin typeface="Avenir Next Regular"/>
                <a:cs typeface="Avenir Next Regular"/>
              </a:rPr>
              <a:t>AngularJS</a:t>
            </a: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Redis was used to ‘stash’ API responses, which combined with node.js services for extremely high performance and concurrency</a:t>
            </a: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An integrated JavaScript testing suite with Jasmine, Grunt, Protractor, and Karma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Fully functional DevOps with analysis, testing, and deployment was created; utilizing Jenkins and Grunt along with the testing tools above and analysis tools like </a:t>
            </a:r>
            <a:r>
              <a:rPr lang="en-US" sz="1100" dirty="0" err="1" smtClean="0">
                <a:latin typeface="Avenir Next Regular"/>
                <a:cs typeface="Avenir Next Regular"/>
              </a:rPr>
              <a:t>jsHint</a:t>
            </a:r>
            <a:r>
              <a:rPr lang="en-US" sz="1100" dirty="0" smtClean="0">
                <a:latin typeface="Avenir Next Regular"/>
                <a:cs typeface="Avenir Next Regular"/>
              </a:rPr>
              <a:t>, </a:t>
            </a:r>
            <a:r>
              <a:rPr lang="en-US" sz="1100" dirty="0" err="1" smtClean="0">
                <a:latin typeface="Avenir Next Regular"/>
                <a:cs typeface="Avenir Next Regular"/>
              </a:rPr>
              <a:t>jscs</a:t>
            </a:r>
            <a:r>
              <a:rPr lang="en-US" sz="1100" dirty="0" smtClean="0">
                <a:latin typeface="Avenir Next Regular"/>
                <a:cs typeface="Avenir Next Regular"/>
              </a:rPr>
              <a:t>, and Plato</a:t>
            </a:r>
            <a:endParaRPr lang="en-US" sz="1100" dirty="0">
              <a:latin typeface="Avenir Next Regular"/>
              <a:cs typeface="Avenir Next Regular"/>
            </a:endParaRPr>
          </a:p>
        </p:txBody>
      </p:sp>
      <p:sp>
        <p:nvSpPr>
          <p:cNvPr id="25" name="Content Placeholder 2"/>
          <p:cNvSpPr txBox="1">
            <a:spLocks/>
          </p:cNvSpPr>
          <p:nvPr/>
        </p:nvSpPr>
        <p:spPr bwMode="black">
          <a:xfrm>
            <a:off x="335311" y="893842"/>
            <a:ext cx="5780921" cy="469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8925" indent="-288925" algn="l" rtl="0" eaLnBrk="0" fontAlgn="base" hangingPunct="0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har char="•"/>
              <a:defRPr>
                <a:solidFill>
                  <a:schemeClr val="tx1"/>
                </a:solidFill>
                <a:latin typeface="+mn-lt"/>
                <a:ea typeface="ヒラギノ角ゴ Pro W3" charset="0"/>
                <a:cs typeface="Geneva" charset="0"/>
              </a:defRPr>
            </a:lvl1pPr>
            <a:lvl2pPr marL="633413" indent="-23018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974725" indent="-227013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312863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1651000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108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5654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0226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4798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sz="12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To support the objectives, the following areas were analyzed and we have provided solution options and recommendations for each: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1127" y="3793219"/>
            <a:ext cx="424853" cy="383247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1050" y="3835096"/>
            <a:ext cx="354772" cy="36515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521" y="3420999"/>
            <a:ext cx="293638" cy="3142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6944" y="3851877"/>
            <a:ext cx="297520" cy="32458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6422" y="1027076"/>
            <a:ext cx="515213" cy="44633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8164" y="1067140"/>
            <a:ext cx="391578" cy="391578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6119" y="3342533"/>
            <a:ext cx="509344" cy="50934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6274" y="4278320"/>
            <a:ext cx="413398" cy="320722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9774" y="2838599"/>
            <a:ext cx="963828" cy="42408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22979" y="4222746"/>
            <a:ext cx="376296" cy="376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566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ser Experience and UI Architecture Strategic Progra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10000"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Client wanted to move away from rigid, limiting technology and process that was impeding innovation and growth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User experience was often an afterthought in most applications, and design (when it was done) tended to be done by business analyst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Development was non-agile and used a very rigid set of tools and processes: considerations like test coverage and automation were ignored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Despite across-the-board funding cuts affecting some goals, program was universally considered a succes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Reference application developed during the program became extremely popular for increased usability, more functionality was included than originally expected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Bank processes slowly modified to include new program’s processes, enabling benefits across the board 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>
            <a:normAutofit lnSpcReduction="10000"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Develop a program by which creative and innovative technology capabilities were brought to the forefront of the application development proces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Introduce new UI technologies, automation and DevOps to improve capability, quality, and speed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Choose a major application in which to enshrine the new approach, develop it, and bring it to production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Location: North America (USA)</a:t>
            </a:r>
          </a:p>
          <a:p>
            <a:r>
              <a:rPr lang="en-US" dirty="0"/>
              <a:t>OU: </a:t>
            </a:r>
            <a:r>
              <a:rPr lang="en-US" dirty="0" smtClean="0"/>
              <a:t>Financial Services</a:t>
            </a:r>
            <a:endParaRPr lang="en-US" dirty="0"/>
          </a:p>
          <a:p>
            <a:r>
              <a:rPr lang="en-US" dirty="0"/>
              <a:t>Success: </a:t>
            </a:r>
            <a:r>
              <a:rPr lang="en-US" b="1" dirty="0" smtClean="0"/>
              <a:t>Develop new UI/UX capability area for client’s wholesale bank in order to improve application development, user experience, and speed to market</a:t>
            </a:r>
            <a:endParaRPr lang="en-US" b="1" dirty="0"/>
          </a:p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43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1078"/>
          <a:stretch/>
        </p:blipFill>
        <p:spPr>
          <a:xfrm>
            <a:off x="5897977" y="263407"/>
            <a:ext cx="3022413" cy="165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685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44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 rot="1455978">
            <a:off x="3748628" y="2110085"/>
            <a:ext cx="164675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ECB</a:t>
            </a:r>
            <a:endParaRPr lang="en-US" sz="5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0791457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Ashoka</a:t>
            </a:r>
            <a:r>
              <a:rPr lang="en-US" dirty="0" smtClean="0"/>
              <a:t> Data Platfor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Their mission is to collect and display the data regarding the improvements made by the government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The results of </a:t>
            </a:r>
            <a:r>
              <a:rPr lang="en-US" dirty="0" err="1" smtClean="0"/>
              <a:t>Ashoka</a:t>
            </a:r>
            <a:r>
              <a:rPr lang="en-US" dirty="0" smtClean="0"/>
              <a:t> questionnaires needed to be displayed as a data survey portal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The questionnaires needed to be deployed on the Heroku platform</a:t>
            </a:r>
          </a:p>
          <a:p>
            <a:pPr marL="171450" indent="-171450">
              <a:buFont typeface="Arial"/>
              <a:buChar char="•"/>
            </a:pP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Accenture delivered a fully responsive site with a </a:t>
            </a:r>
            <a:r>
              <a:rPr lang="en-US" dirty="0" err="1" smtClean="0"/>
              <a:t>RESTful</a:t>
            </a:r>
            <a:r>
              <a:rPr lang="en-US" dirty="0" smtClean="0"/>
              <a:t> architecture, allowing streamlined scalability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Data from questionnaires are displayed in beautiful charts and diagrams for easy understanding and clear communication 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20000"/>
          </a:bodyPr>
          <a:lstStyle/>
          <a:p>
            <a:pPr marL="171450" indent="-171450">
              <a:buFont typeface="Arial"/>
              <a:buChar char="•"/>
            </a:pPr>
            <a:r>
              <a:rPr lang="en-US" dirty="0" smtClean="0"/>
              <a:t>A full-stack JavaScript architecture consisting of AngularJS, NodeJS, ExpressJS, PostgreSQL to serve the purpose of rapid agile development and development cycles</a:t>
            </a:r>
          </a:p>
          <a:p>
            <a:pPr marL="171450" indent="-171450">
              <a:buFont typeface="Arial"/>
              <a:buChar char="•"/>
            </a:pPr>
            <a:r>
              <a:rPr lang="en-US" dirty="0" err="1" smtClean="0"/>
              <a:t>HighchartsJS</a:t>
            </a:r>
            <a:r>
              <a:rPr lang="en-US" dirty="0" smtClean="0"/>
              <a:t> used to display data in charts for clear communication to viewers</a:t>
            </a:r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jQuery plugin and AngularJS to improved the way data was displayed</a:t>
            </a:r>
          </a:p>
          <a:p>
            <a:pPr marL="171450" indent="-171450">
              <a:buFont typeface="Arial"/>
              <a:buChar char="•"/>
            </a:pPr>
            <a:r>
              <a:rPr lang="en-US" dirty="0" err="1" smtClean="0"/>
              <a:t>RESTful</a:t>
            </a:r>
            <a:r>
              <a:rPr lang="en-US" dirty="0" smtClean="0"/>
              <a:t> APIs for scalability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Location: </a:t>
            </a:r>
            <a:r>
              <a:rPr lang="en-US" dirty="0" smtClean="0"/>
              <a:t>APAC (India)</a:t>
            </a:r>
            <a:endParaRPr lang="en-US" dirty="0"/>
          </a:p>
          <a:p>
            <a:r>
              <a:rPr lang="en-US" dirty="0"/>
              <a:t>OU: </a:t>
            </a:r>
            <a:r>
              <a:rPr lang="en-US" dirty="0" smtClean="0"/>
              <a:t>Products</a:t>
            </a:r>
            <a:endParaRPr lang="en-US" dirty="0"/>
          </a:p>
          <a:p>
            <a:r>
              <a:rPr lang="en-US" dirty="0"/>
              <a:t>Success</a:t>
            </a:r>
            <a:r>
              <a:rPr lang="en-US" dirty="0" smtClean="0"/>
              <a:t>: </a:t>
            </a:r>
            <a:r>
              <a:rPr lang="en-US" b="1" dirty="0" smtClean="0"/>
              <a:t>Launched a modern Web application backed by </a:t>
            </a:r>
            <a:r>
              <a:rPr lang="en-US" b="1" dirty="0" err="1" smtClean="0"/>
              <a:t>RESTful</a:t>
            </a:r>
            <a:r>
              <a:rPr lang="en-US" b="1" dirty="0" smtClean="0"/>
              <a:t> APIs</a:t>
            </a:r>
            <a:endParaRPr lang="en-US" b="1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349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207" y="67118"/>
            <a:ext cx="6041782" cy="826724"/>
          </a:xfrm>
        </p:spPr>
        <p:txBody>
          <a:bodyPr anchor="t"/>
          <a:lstStyle/>
          <a:p>
            <a:r>
              <a:rPr lang="en-US" dirty="0" err="1" smtClean="0"/>
              <a:t>Ashoka</a:t>
            </a:r>
            <a:r>
              <a:rPr lang="en-US" dirty="0" smtClean="0"/>
              <a:t> Data Platform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en-US" dirty="0" smtClean="0">
                <a:latin typeface="Avenir Next Regular"/>
                <a:cs typeface="Avenir Next Regular"/>
              </a:rPr>
              <a:t>Confidential</a:t>
            </a:r>
            <a:endParaRPr lang="en-US" dirty="0">
              <a:latin typeface="Avenir Next Regular"/>
              <a:cs typeface="Avenir Next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venir Next Regular"/>
                <a:cs typeface="Avenir Next Regular"/>
              </a:rPr>
              <a:pPr defTabSz="914400"/>
              <a:t>46</a:t>
            </a:fld>
            <a:endParaRPr lang="en-US">
              <a:latin typeface="Avenir Next Regular"/>
              <a:cs typeface="Avenir Next Regular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04941" y="199483"/>
            <a:ext cx="2739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200" b="1" cap="small" dirty="0" smtClean="0">
                <a:solidFill>
                  <a:schemeClr val="accent1"/>
                </a:solidFill>
                <a:latin typeface="Avenir Next Regular"/>
                <a:cs typeface="Avenir Next Regular"/>
              </a:rPr>
              <a:t>technology stack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531147" y="480519"/>
            <a:ext cx="24846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550449" y="603956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Front-end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AngularJS</a:t>
            </a:r>
          </a:p>
        </p:txBody>
      </p:sp>
      <p:sp>
        <p:nvSpPr>
          <p:cNvPr id="9" name="Rectangle 8"/>
          <p:cNvSpPr/>
          <p:nvPr/>
        </p:nvSpPr>
        <p:spPr>
          <a:xfrm>
            <a:off x="6531147" y="1333557"/>
            <a:ext cx="2104834" cy="76944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Back-end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NodeJ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ExpressJS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Node-Postgr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50449" y="2401478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Database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PostgreSQ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6531147" y="1209250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531147" y="2286038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postgresq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757" y="2401479"/>
            <a:ext cx="420627" cy="420627"/>
          </a:xfrm>
          <a:prstGeom prst="rect">
            <a:avLst/>
          </a:prstGeom>
        </p:spPr>
      </p:pic>
      <p:pic>
        <p:nvPicPr>
          <p:cNvPr id="7" name="Picture 6" descr="images.jpg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8641" y="576866"/>
            <a:ext cx="490274" cy="490274"/>
          </a:xfrm>
          <a:prstGeom prst="rect">
            <a:avLst/>
          </a:prstGeom>
        </p:spPr>
      </p:pic>
      <p:pic>
        <p:nvPicPr>
          <p:cNvPr id="13" name="Picture 12" descr="imgres.png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1073" y="1479123"/>
            <a:ext cx="483360" cy="483360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6531146" y="3092599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550449" y="3297825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Version Control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Github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531146" y="3950466"/>
            <a:ext cx="2484676" cy="0"/>
          </a:xfrm>
          <a:prstGeom prst="line">
            <a:avLst/>
          </a:prstGeom>
          <a:ln w="9525" cmpd="sng">
            <a:solidFill>
              <a:schemeClr val="tx2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6531147" y="4091559"/>
            <a:ext cx="2104834" cy="4206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tx2"/>
                </a:solidFill>
                <a:latin typeface="Avenir Next Regular"/>
                <a:cs typeface="Avenir Next Regular"/>
              </a:rPr>
              <a:t>Cloud Platform</a:t>
            </a:r>
          </a:p>
          <a:p>
            <a:pPr marL="171450" indent="-171450">
              <a:spcBef>
                <a:spcPts val="4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800" dirty="0" smtClean="0">
                <a:solidFill>
                  <a:srgbClr val="CA2F31"/>
                </a:solidFill>
                <a:latin typeface="Avenir Next Regular"/>
                <a:cs typeface="Avenir Next Regular"/>
              </a:rPr>
              <a:t>Heroku</a:t>
            </a:r>
          </a:p>
        </p:txBody>
      </p:sp>
      <p:pic>
        <p:nvPicPr>
          <p:cNvPr id="14" name="Picture 13" descr="heroku_128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3145" y="4014601"/>
            <a:ext cx="710167" cy="710167"/>
          </a:xfrm>
          <a:prstGeom prst="rect">
            <a:avLst/>
          </a:prstGeom>
        </p:spPr>
      </p:pic>
      <p:pic>
        <p:nvPicPr>
          <p:cNvPr id="23" name="Picture 22" descr="GitHub-Mark.png"/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757" y="3304161"/>
            <a:ext cx="478427" cy="478427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335311" y="1646412"/>
            <a:ext cx="5757363" cy="278113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NodeJS </a:t>
            </a:r>
            <a:r>
              <a:rPr lang="en-US" sz="1100" dirty="0">
                <a:latin typeface="Avenir Next Regular"/>
                <a:cs typeface="Avenir Next Regular"/>
              </a:rPr>
              <a:t>– All </a:t>
            </a:r>
            <a:r>
              <a:rPr lang="en-US" sz="1100" dirty="0" smtClean="0">
                <a:latin typeface="Avenir Next Regular"/>
                <a:cs typeface="Avenir Next Regular"/>
              </a:rPr>
              <a:t>of the </a:t>
            </a:r>
            <a:r>
              <a:rPr lang="en-US" sz="1100" dirty="0">
                <a:latin typeface="Avenir Next Regular"/>
                <a:cs typeface="Avenir Next Regular"/>
              </a:rPr>
              <a:t>server side development was done using </a:t>
            </a:r>
            <a:r>
              <a:rPr lang="en-US" sz="1100" dirty="0" err="1">
                <a:latin typeface="Avenir Next Regular"/>
                <a:cs typeface="Avenir Next Regular"/>
              </a:rPr>
              <a:t>Javascript</a:t>
            </a:r>
            <a:r>
              <a:rPr lang="en-US" sz="1100" dirty="0">
                <a:latin typeface="Avenir Next Regular"/>
                <a:cs typeface="Avenir Next Regular"/>
              </a:rPr>
              <a:t> i.e. N</a:t>
            </a:r>
            <a:r>
              <a:rPr lang="en-US" sz="1100" dirty="0" smtClean="0">
                <a:latin typeface="Avenir Next Regular"/>
                <a:cs typeface="Avenir Next Regular"/>
              </a:rPr>
              <a:t>odeJS</a:t>
            </a: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Restful APIs </a:t>
            </a:r>
            <a:r>
              <a:rPr lang="en-US" sz="1100" dirty="0">
                <a:latin typeface="Avenir Next Regular"/>
                <a:cs typeface="Avenir Next Regular"/>
              </a:rPr>
              <a:t>were written and consumed using </a:t>
            </a:r>
            <a:r>
              <a:rPr lang="en-US" sz="1100" dirty="0" smtClean="0">
                <a:latin typeface="Avenir Next Regular"/>
                <a:cs typeface="Avenir Next Regular"/>
              </a:rPr>
              <a:t>ExpressJS 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The front-end </a:t>
            </a:r>
            <a:r>
              <a:rPr lang="en-US" sz="1100" dirty="0">
                <a:latin typeface="Avenir Next Regular"/>
                <a:cs typeface="Avenir Next Regular"/>
              </a:rPr>
              <a:t>was developed using the MVC Framework </a:t>
            </a:r>
            <a:r>
              <a:rPr lang="en-US" sz="1100" dirty="0" smtClean="0">
                <a:latin typeface="Avenir Next Regular"/>
                <a:cs typeface="Avenir Next Regular"/>
              </a:rPr>
              <a:t>AngularJS </a:t>
            </a:r>
            <a:r>
              <a:rPr lang="en-US" sz="1100" dirty="0">
                <a:latin typeface="Avenir Next Regular"/>
                <a:cs typeface="Avenir Next Regular"/>
              </a:rPr>
              <a:t>which also consumed </a:t>
            </a:r>
            <a:r>
              <a:rPr lang="en-US" sz="1100" dirty="0" smtClean="0">
                <a:latin typeface="Avenir Next Regular"/>
                <a:cs typeface="Avenir Next Regular"/>
              </a:rPr>
              <a:t>the </a:t>
            </a:r>
            <a:r>
              <a:rPr lang="en-US" sz="1100" dirty="0">
                <a:latin typeface="Avenir Next Regular"/>
                <a:cs typeface="Avenir Next Regular"/>
              </a:rPr>
              <a:t>web services written in </a:t>
            </a:r>
            <a:r>
              <a:rPr lang="en-US" sz="1100" dirty="0" smtClean="0">
                <a:latin typeface="Avenir Next Regular"/>
                <a:cs typeface="Avenir Next Regular"/>
              </a:rPr>
              <a:t>NodeJS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 smtClean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 smtClean="0">
                <a:latin typeface="Avenir Next Regular"/>
                <a:cs typeface="Avenir Next Regular"/>
              </a:rPr>
              <a:t>Node</a:t>
            </a:r>
            <a:r>
              <a:rPr lang="en-US" sz="1100" dirty="0">
                <a:latin typeface="Avenir Next Regular"/>
                <a:cs typeface="Avenir Next Regular"/>
              </a:rPr>
              <a:t>-Postgres was the driver used to connect between NodeJS and PostgresSQL </a:t>
            </a:r>
            <a:r>
              <a:rPr lang="en-US" sz="1100" dirty="0" smtClean="0">
                <a:latin typeface="Avenir Next Regular"/>
                <a:cs typeface="Avenir Next Regular"/>
              </a:rPr>
              <a:t>Database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>
                <a:latin typeface="Avenir Next Regular"/>
                <a:cs typeface="Avenir Next Regular"/>
              </a:rPr>
              <a:t>Postgres SQL was the existing DB with the client and </a:t>
            </a:r>
            <a:r>
              <a:rPr lang="en-US" sz="1100" dirty="0" smtClean="0">
                <a:latin typeface="Avenir Next Regular"/>
                <a:cs typeface="Avenir Next Regular"/>
              </a:rPr>
              <a:t>added </a:t>
            </a:r>
            <a:r>
              <a:rPr lang="en-US" sz="1100" dirty="0">
                <a:latin typeface="Avenir Next Regular"/>
                <a:cs typeface="Avenir Next Regular"/>
              </a:rPr>
              <a:t>some data columns to the data model to make it compliant with the client’s </a:t>
            </a:r>
            <a:r>
              <a:rPr lang="en-US" sz="1100" dirty="0" smtClean="0">
                <a:latin typeface="Avenir Next Regular"/>
                <a:cs typeface="Avenir Next Regular"/>
              </a:rPr>
              <a:t>requirements</a:t>
            </a: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endParaRPr lang="en-US" sz="1100" dirty="0">
              <a:latin typeface="Avenir Next Regular"/>
              <a:cs typeface="Avenir Next Regular"/>
            </a:endParaRPr>
          </a:p>
          <a:p>
            <a:pPr marL="171450" indent="-171450">
              <a:buClr>
                <a:srgbClr val="C91C15"/>
              </a:buClr>
              <a:buFont typeface="Arial"/>
              <a:buChar char="•"/>
            </a:pPr>
            <a:r>
              <a:rPr lang="en-US" sz="1100" dirty="0">
                <a:latin typeface="Avenir Next Regular"/>
                <a:cs typeface="Avenir Next Regular"/>
              </a:rPr>
              <a:t>The whole application was versioned and merged using Github and deployed on Heroku </a:t>
            </a:r>
            <a:r>
              <a:rPr lang="en-US" sz="1100" dirty="0" err="1">
                <a:latin typeface="Avenir Next Regular"/>
                <a:cs typeface="Avenir Next Regular"/>
              </a:rPr>
              <a:t>PaaS</a:t>
            </a:r>
            <a:r>
              <a:rPr lang="en-US" sz="1100" dirty="0">
                <a:latin typeface="Avenir Next Regular"/>
                <a:cs typeface="Avenir Next Regular"/>
              </a:rPr>
              <a:t> and using the Heroku Postgres Storage and configuring with psql command </a:t>
            </a:r>
            <a:r>
              <a:rPr lang="en-US" sz="1100" dirty="0" smtClean="0">
                <a:latin typeface="Avenir Next Regular"/>
                <a:cs typeface="Avenir Next Regular"/>
              </a:rPr>
              <a:t>line</a:t>
            </a:r>
            <a:endParaRPr lang="en-US" sz="1100" dirty="0">
              <a:latin typeface="Avenir Next Regular"/>
              <a:cs typeface="Avenir Next Regular"/>
            </a:endParaRPr>
          </a:p>
        </p:txBody>
      </p:sp>
      <p:sp>
        <p:nvSpPr>
          <p:cNvPr id="25" name="Content Placeholder 2"/>
          <p:cNvSpPr txBox="1">
            <a:spLocks/>
          </p:cNvSpPr>
          <p:nvPr/>
        </p:nvSpPr>
        <p:spPr bwMode="black">
          <a:xfrm>
            <a:off x="335311" y="893842"/>
            <a:ext cx="5780921" cy="469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8925" indent="-288925" algn="l" rtl="0" eaLnBrk="0" fontAlgn="base" hangingPunct="0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har char="•"/>
              <a:defRPr>
                <a:solidFill>
                  <a:schemeClr val="tx1"/>
                </a:solidFill>
                <a:latin typeface="+mn-lt"/>
                <a:ea typeface="ヒラギノ角ゴ Pro W3" charset="0"/>
                <a:cs typeface="Geneva" charset="0"/>
              </a:defRPr>
            </a:lvl1pPr>
            <a:lvl2pPr marL="633413" indent="-23018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974725" indent="-227013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312863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1651000" indent="-223838" algn="l" rtl="0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108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5654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0226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4798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sz="12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To support the objectives, the following areas were analyzed and we have provided solution options and recommendations for each:</a:t>
            </a:r>
          </a:p>
        </p:txBody>
      </p:sp>
      <p:pic>
        <p:nvPicPr>
          <p:cNvPr id="26" name="Picture 25" descr="express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0140" y="1508198"/>
            <a:ext cx="423805" cy="42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73949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90435" y="1822429"/>
            <a:ext cx="7772400" cy="1021556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US" dirty="0" smtClean="0"/>
              <a:t>Appendix 1: Lightweight Architecture at Accen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31847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ghtweight Architecture at Accenture - Practic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latin typeface="Avenir Book"/>
                <a:cs typeface="Avenir Book"/>
              </a:rPr>
              <a:t>© 2014 Accenture All Rights Reserv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F01A0F-09BA-8F4E-BAF1-40291A86EF31}" type="slidenum">
              <a:rPr lang="en-US" smtClean="0"/>
              <a:t>48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27000" y="869938"/>
            <a:ext cx="6881519" cy="3703650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Lightweight architecture (LWA) is a strategic focus for Accenture Technology’s custom delivery practices. </a:t>
            </a:r>
          </a:p>
          <a:p>
            <a:pPr lvl="1"/>
            <a:r>
              <a:rPr lang="en-US" dirty="0" smtClean="0"/>
              <a:t>LWA is divided into ‘Accenture Open Platforms’ (AOPs), which are collections of reference architectures and accelerators that enable our delivery teams to utilize a common foundation built on previous experience. </a:t>
            </a:r>
          </a:p>
          <a:p>
            <a:pPr lvl="1"/>
            <a:r>
              <a:rPr lang="en-US" dirty="0" smtClean="0"/>
              <a:t>Each Open Platform comprises pre-selected, pre-integrated technology mapped to reference architecture components along with accelerators and delivery aids to ensure high quality development is done quickly. </a:t>
            </a:r>
          </a:p>
          <a:p>
            <a:r>
              <a:rPr lang="en-US" dirty="0" smtClean="0"/>
              <a:t>There are three AOPs: </a:t>
            </a:r>
          </a:p>
          <a:p>
            <a:pPr lvl="1"/>
            <a:r>
              <a:rPr lang="en-US" dirty="0" smtClean="0"/>
              <a:t>Accenture Open Web Platform: UI</a:t>
            </a:r>
          </a:p>
          <a:p>
            <a:pPr lvl="1"/>
            <a:r>
              <a:rPr lang="en-US" dirty="0" smtClean="0"/>
              <a:t>Accenture Open Services Platform: ‘Back Ends’</a:t>
            </a:r>
          </a:p>
          <a:p>
            <a:pPr lvl="1"/>
            <a:r>
              <a:rPr lang="en-US" dirty="0" smtClean="0"/>
              <a:t>Accenture Open Data Platform: Data and persistence</a:t>
            </a:r>
          </a:p>
          <a:p>
            <a:r>
              <a:rPr lang="en-US" dirty="0" smtClean="0"/>
              <a:t>LWA enables each AOP with state-of-the-industry DevOps capability, platform selection, and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25926" y="701663"/>
            <a:ext cx="1278752" cy="127875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591775" y="2055671"/>
            <a:ext cx="1187047" cy="11768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595959"/>
                </a:solidFill>
              </a:rPr>
              <a:t>AOSP Logo</a:t>
            </a: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91775" y="3402812"/>
            <a:ext cx="1187047" cy="11768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595959"/>
                </a:solidFill>
              </a:rPr>
              <a:t>AODP Logo</a:t>
            </a:r>
            <a:endParaRPr lang="en-US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073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Accenture Open Platform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Accenture Open Services Platform</a:t>
            </a:r>
            <a:endParaRPr lang="en-US" b="1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10000"/>
          </a:bodyPr>
          <a:lstStyle/>
          <a:p>
            <a:pPr marL="0" indent="0" algn="ctr">
              <a:buNone/>
            </a:pPr>
            <a:r>
              <a:rPr lang="en-US" i="1" dirty="0" smtClean="0">
                <a:solidFill>
                  <a:srgbClr val="C91C15"/>
                </a:solidFill>
              </a:rPr>
              <a:t>The plumbing for lightweight applications: middleware, services, business logic</a:t>
            </a:r>
          </a:p>
          <a:p>
            <a:pPr marL="0" indent="0">
              <a:buNone/>
            </a:pPr>
            <a:endParaRPr lang="en-US" sz="500" dirty="0" smtClean="0"/>
          </a:p>
          <a:p>
            <a:r>
              <a:rPr lang="en-US" dirty="0" smtClean="0"/>
              <a:t>Consists of three distinct reference architectures + accelerators</a:t>
            </a:r>
          </a:p>
          <a:p>
            <a:pPr lvl="1"/>
            <a:r>
              <a:rPr lang="en-US" dirty="0" smtClean="0"/>
              <a:t>Reactive architecture with </a:t>
            </a:r>
            <a:r>
              <a:rPr lang="en-US" dirty="0" err="1" smtClean="0"/>
              <a:t>Scala</a:t>
            </a:r>
            <a:r>
              <a:rPr lang="en-US" dirty="0"/>
              <a:t> </a:t>
            </a:r>
            <a:r>
              <a:rPr lang="en-US" dirty="0" smtClean="0"/>
              <a:t>and</a:t>
            </a:r>
            <a:r>
              <a:rPr lang="en-US" dirty="0" smtClean="0"/>
              <a:t> </a:t>
            </a: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kka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/>
            <a:r>
              <a:rPr lang="en-US" dirty="0"/>
              <a:t>Web API architecture with </a:t>
            </a:r>
            <a:r>
              <a:rPr lang="en-US" dirty="0" err="1"/>
              <a:t>node.js</a:t>
            </a:r>
            <a:endParaRPr lang="en-US" dirty="0"/>
          </a:p>
          <a:p>
            <a:pPr lvl="1"/>
            <a:r>
              <a:rPr lang="en-US" dirty="0" smtClean="0"/>
              <a:t>Lightweight Java architecture for middleware and services</a:t>
            </a:r>
          </a:p>
          <a:p>
            <a:r>
              <a:rPr lang="en-US" dirty="0" smtClean="0"/>
              <a:t>Like AOWP, AOSP consists of reference architecture, documentation, </a:t>
            </a:r>
            <a:r>
              <a:rPr lang="en-US" dirty="0" err="1" smtClean="0"/>
              <a:t>DevOps</a:t>
            </a:r>
            <a:r>
              <a:rPr lang="en-US" dirty="0" smtClean="0"/>
              <a:t> enablement, and project accelerator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1" dirty="0" smtClean="0"/>
              <a:t>Accenture Open Data Platform</a:t>
            </a:r>
            <a:endParaRPr lang="en-US" b="1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85000" lnSpcReduction="20000"/>
          </a:bodyPr>
          <a:lstStyle/>
          <a:p>
            <a:pPr marL="0" indent="0" algn="ctr">
              <a:buNone/>
            </a:pPr>
            <a:r>
              <a:rPr lang="en-US" i="1" dirty="0">
                <a:solidFill>
                  <a:srgbClr val="C91C15"/>
                </a:solidFill>
              </a:rPr>
              <a:t>The foundation for lightweight applications: </a:t>
            </a:r>
            <a:r>
              <a:rPr lang="en-US" i="1" dirty="0" smtClean="0">
                <a:solidFill>
                  <a:srgbClr val="C91C15"/>
                </a:solidFill>
              </a:rPr>
              <a:t>data storage, persistence</a:t>
            </a:r>
            <a:endParaRPr lang="en-US" i="1" dirty="0">
              <a:solidFill>
                <a:srgbClr val="C91C15"/>
              </a:solidFill>
            </a:endParaRPr>
          </a:p>
          <a:p>
            <a:pPr marL="0" indent="0">
              <a:buNone/>
            </a:pPr>
            <a:endParaRPr lang="en-US" sz="500" dirty="0"/>
          </a:p>
          <a:p>
            <a:r>
              <a:rPr lang="en-US" dirty="0"/>
              <a:t>Consists of </a:t>
            </a:r>
            <a:r>
              <a:rPr lang="en-US" dirty="0" smtClean="0"/>
              <a:t>distinct reference architectures for </a:t>
            </a:r>
            <a:endParaRPr lang="en-US" dirty="0"/>
          </a:p>
          <a:p>
            <a:pPr lvl="1"/>
            <a:r>
              <a:rPr lang="en-US" dirty="0" smtClean="0"/>
              <a:t>Persistence &amp; caching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/>
            <a:r>
              <a:rPr lang="en-US" dirty="0" smtClean="0"/>
              <a:t>Data storage with </a:t>
            </a:r>
            <a:r>
              <a:rPr lang="en-US" dirty="0" err="1" smtClean="0"/>
              <a:t>noSQL</a:t>
            </a:r>
            <a:r>
              <a:rPr lang="en-US" dirty="0" smtClean="0"/>
              <a:t> with </a:t>
            </a:r>
            <a:r>
              <a:rPr lang="en-US" dirty="0" err="1" smtClean="0"/>
              <a:t>couchbase</a:t>
            </a:r>
            <a:r>
              <a:rPr lang="en-US" dirty="0" smtClean="0"/>
              <a:t>, </a:t>
            </a:r>
            <a:r>
              <a:rPr lang="en-US" dirty="0" err="1" smtClean="0"/>
              <a:t>mongodb</a:t>
            </a:r>
            <a:r>
              <a:rPr lang="en-US" dirty="0" smtClean="0"/>
              <a:t>, </a:t>
            </a:r>
            <a:r>
              <a:rPr lang="en-US" dirty="0" err="1" smtClean="0"/>
              <a:t>couchdb</a:t>
            </a:r>
            <a:r>
              <a:rPr lang="en-US" dirty="0" smtClean="0"/>
              <a:t>, and </a:t>
            </a:r>
            <a:r>
              <a:rPr lang="en-US" dirty="0" err="1" smtClean="0"/>
              <a:t>riak</a:t>
            </a:r>
            <a:endParaRPr lang="en-US" dirty="0"/>
          </a:p>
          <a:p>
            <a:pPr lvl="1"/>
            <a:r>
              <a:rPr lang="en-US" dirty="0" smtClean="0"/>
              <a:t>Application/execution architecture for data-intensive applications</a:t>
            </a:r>
            <a:endParaRPr lang="en-US" dirty="0"/>
          </a:p>
          <a:p>
            <a:r>
              <a:rPr lang="en-US" dirty="0"/>
              <a:t>Like AOWP, </a:t>
            </a:r>
            <a:r>
              <a:rPr lang="en-US" dirty="0" smtClean="0"/>
              <a:t>AODP </a:t>
            </a:r>
            <a:r>
              <a:rPr lang="en-US" dirty="0"/>
              <a:t>consists of reference architecture, documentation, </a:t>
            </a:r>
            <a:r>
              <a:rPr lang="en-US" dirty="0" smtClean="0"/>
              <a:t>developer </a:t>
            </a:r>
            <a:r>
              <a:rPr lang="en-US" dirty="0"/>
              <a:t>enablement, and project accelerator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66238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w Architecture for New Class of Apps: Client/API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dirty="0" smtClean="0">
                <a:latin typeface="Arial"/>
                <a:cs typeface="Arial"/>
              </a:rPr>
              <a:t>Confidential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rial"/>
                <a:cs typeface="Arial"/>
              </a:rPr>
              <a:pPr defTabSz="914400"/>
              <a:t>5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83914" y="70739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C91C15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2249" y="728436"/>
            <a:ext cx="8641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There is a distinct shift from traditional 3-tier Web applications to new Client/API model</a:t>
            </a:r>
            <a:endParaRPr lang="en-US" sz="1600" i="1" dirty="0">
              <a:solidFill>
                <a:srgbClr val="C91C15"/>
              </a:solidFill>
              <a:latin typeface="Avenir Next Regular"/>
              <a:cs typeface="Avenir Next Regular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1884" y="4167718"/>
            <a:ext cx="958933" cy="328250"/>
          </a:xfrm>
          <a:prstGeom prst="rect">
            <a:avLst/>
          </a:prstGeom>
        </p:spPr>
      </p:pic>
      <p:pic>
        <p:nvPicPr>
          <p:cNvPr id="15" name="Picture 6" descr="https://www.crittercism.com/wp-content/uploads/2014/05/backbone-ima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68580" y="4028430"/>
            <a:ext cx="1101889" cy="19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2" descr="http://pascalprecht.github.io/slides/mastering-angularjs-directives/img/angularjs-logo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3202" y="4247559"/>
            <a:ext cx="770294" cy="199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6" descr="http://i.microsoft.com/net/images/chrome/net-logo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801" y="4338069"/>
            <a:ext cx="289410" cy="289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8" descr="https://encrypted-tbn1.gstatic.com/images?q=tbn:ANd9GcRF_pA_dpWqpKJ-id5a7jQ7kpY0uLK_hMgGqpwpo5rOGR_JXaTtRvJRyck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960" y="3956642"/>
            <a:ext cx="921238" cy="290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5571981" y="1556119"/>
            <a:ext cx="331137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100000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The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browser w/ JavaScript, HTML5 &amp; CSS3 has evolved to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a high performing, native-like desktop platform.</a:t>
            </a:r>
          </a:p>
          <a:p>
            <a:pPr algn="ctr">
              <a:buSzPct val="100000"/>
            </a:pPr>
            <a:endParaRPr lang="en-US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  <a:p>
            <a:pPr algn="ctr">
              <a:buSzPct val="100000"/>
            </a:pPr>
            <a:endParaRPr lang="en-US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  <a:p>
            <a:pPr algn="ctr">
              <a:buSzPct val="100000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venir Next Regular"/>
                <a:cs typeface="Avenir Next Regular"/>
              </a:rPr>
              <a:t>APIs handle business logic and interaction between the UI and the back end. </a:t>
            </a:r>
          </a:p>
          <a:p>
            <a:pPr algn="ctr">
              <a:buSzPct val="100000"/>
            </a:pPr>
            <a:endParaRPr lang="en-US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  <a:p>
            <a:pPr algn="ctr">
              <a:buSzPct val="100000"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venir Next Regular"/>
              <a:cs typeface="Avenir Next Regular"/>
            </a:endParaRPr>
          </a:p>
          <a:p>
            <a:pPr algn="ctr">
              <a:buSzPct val="100000"/>
            </a:pPr>
            <a:r>
              <a:rPr lang="en-US" sz="1200" b="1" dirty="0" smtClean="0">
                <a:solidFill>
                  <a:srgbClr val="C91C15"/>
                </a:solidFill>
                <a:latin typeface="Avenir Next Regular"/>
                <a:cs typeface="Avenir Next Regular"/>
              </a:rPr>
              <a:t>Client/API architecture is truly decoupled: modular systems ensure technology and experiences doesn’t become stale. </a:t>
            </a:r>
            <a:endParaRPr lang="en-CA" sz="1200" b="1" dirty="0">
              <a:solidFill>
                <a:srgbClr val="C91C15"/>
              </a:solidFill>
              <a:latin typeface="Avenir Next Regular"/>
              <a:cs typeface="Avenir Next Regular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409170" y="4028326"/>
            <a:ext cx="3662355" cy="523220"/>
          </a:xfrm>
          <a:prstGeom prst="rect">
            <a:avLst/>
          </a:prstGeom>
          <a:solidFill>
            <a:srgbClr val="80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venir Next Regular"/>
                <a:cs typeface="Avenir Next Regular"/>
              </a:rPr>
              <a:t>Client/API = Single Page Web Applications + APIs</a:t>
            </a:r>
            <a:endParaRPr lang="en-US" sz="14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3028507" y="3433914"/>
            <a:ext cx="2079626" cy="408543"/>
          </a:xfrm>
          <a:prstGeom prst="roundRect">
            <a:avLst/>
          </a:prstGeom>
          <a:solidFill>
            <a:srgbClr val="CC0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solidFill>
                  <a:schemeClr val="bg1"/>
                </a:solidFill>
                <a:latin typeface="Avenir Next Regular"/>
                <a:cs typeface="Avenir Next Regular"/>
              </a:rPr>
              <a:t>Backend</a:t>
            </a:r>
            <a:endParaRPr lang="en-US" sz="7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3028507" y="2504194"/>
            <a:ext cx="2079626" cy="709580"/>
          </a:xfrm>
          <a:prstGeom prst="roundRect">
            <a:avLst/>
          </a:prstGeom>
          <a:solidFill>
            <a:srgbClr val="CC0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solidFill>
                  <a:schemeClr val="bg1"/>
                </a:solidFill>
                <a:latin typeface="Avenir Next Regular"/>
                <a:cs typeface="Avenir Next Regular"/>
              </a:rPr>
              <a:t>API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028507" y="1559696"/>
            <a:ext cx="2079626" cy="721374"/>
          </a:xfrm>
          <a:prstGeom prst="roundRect">
            <a:avLst/>
          </a:prstGeom>
          <a:solidFill>
            <a:srgbClr val="CC0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  <a:softEdge rad="12700"/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Client</a:t>
            </a:r>
          </a:p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(Browser)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384801" y="1193998"/>
            <a:ext cx="2049502" cy="270197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rgbClr val="008000"/>
                </a:solidFill>
                <a:latin typeface="Arial"/>
                <a:cs typeface="Arial"/>
              </a:rPr>
              <a:t>Traditional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2941302" y="1203736"/>
            <a:ext cx="2236261" cy="269502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i="0" u="none" strike="noStrike" cap="none" normalizeH="0" baseline="0" dirty="0" smtClean="0">
                <a:ln>
                  <a:noFill/>
                </a:ln>
                <a:solidFill>
                  <a:srgbClr val="CC0000"/>
                </a:solidFill>
                <a:latin typeface="Avenir Next Regular"/>
                <a:cs typeface="Avenir Next Regular"/>
              </a:rPr>
              <a:t>Client/API</a:t>
            </a:r>
          </a:p>
        </p:txBody>
      </p:sp>
      <p:sp>
        <p:nvSpPr>
          <p:cNvPr id="27" name="Down Arrow 26"/>
          <p:cNvSpPr/>
          <p:nvPr/>
        </p:nvSpPr>
        <p:spPr bwMode="auto">
          <a:xfrm flipV="1">
            <a:off x="4341338" y="2222625"/>
            <a:ext cx="143239" cy="1212673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 w="38100" cmpd="sng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endParaRPr lang="en-US" sz="6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  <p:sp>
        <p:nvSpPr>
          <p:cNvPr id="28" name="Flowchart: Magnetic Disk 29"/>
          <p:cNvSpPr/>
          <p:nvPr/>
        </p:nvSpPr>
        <p:spPr bwMode="auto">
          <a:xfrm>
            <a:off x="4391295" y="3487130"/>
            <a:ext cx="471495" cy="31807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DB</a:t>
            </a:r>
          </a:p>
        </p:txBody>
      </p:sp>
      <p:sp>
        <p:nvSpPr>
          <p:cNvPr id="29" name="Trapezoid 28"/>
          <p:cNvSpPr/>
          <p:nvPr/>
        </p:nvSpPr>
        <p:spPr bwMode="auto">
          <a:xfrm>
            <a:off x="4677733" y="3232056"/>
            <a:ext cx="410818" cy="172293"/>
          </a:xfrm>
          <a:prstGeom prst="trapezoid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Data</a:t>
            </a:r>
          </a:p>
        </p:txBody>
      </p:sp>
      <p:sp>
        <p:nvSpPr>
          <p:cNvPr id="30" name="Trapezoid 29"/>
          <p:cNvSpPr/>
          <p:nvPr/>
        </p:nvSpPr>
        <p:spPr bwMode="auto">
          <a:xfrm>
            <a:off x="4677733" y="2306652"/>
            <a:ext cx="410818" cy="172293"/>
          </a:xfrm>
          <a:prstGeom prst="trapezoid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Data</a:t>
            </a:r>
          </a:p>
        </p:txBody>
      </p:sp>
      <p:sp>
        <p:nvSpPr>
          <p:cNvPr id="31" name="Rounded Rectangle 30"/>
          <p:cNvSpPr/>
          <p:nvPr/>
        </p:nvSpPr>
        <p:spPr bwMode="auto">
          <a:xfrm>
            <a:off x="3666041" y="1879830"/>
            <a:ext cx="475479" cy="27358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Model</a:t>
            </a:r>
          </a:p>
        </p:txBody>
      </p:sp>
      <p:sp>
        <p:nvSpPr>
          <p:cNvPr id="32" name="Rounded Rectangle 31"/>
          <p:cNvSpPr/>
          <p:nvPr/>
        </p:nvSpPr>
        <p:spPr bwMode="auto">
          <a:xfrm>
            <a:off x="4021878" y="1671432"/>
            <a:ext cx="710228" cy="19217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View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4124173" y="2003013"/>
            <a:ext cx="710228" cy="19217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Services</a:t>
            </a:r>
          </a:p>
        </p:txBody>
      </p:sp>
      <p:sp>
        <p:nvSpPr>
          <p:cNvPr id="34" name="Rounded Rectangle 33"/>
          <p:cNvSpPr/>
          <p:nvPr/>
        </p:nvSpPr>
        <p:spPr bwMode="auto">
          <a:xfrm>
            <a:off x="4260606" y="1822898"/>
            <a:ext cx="710228" cy="19217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Controller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465069" y="2509477"/>
            <a:ext cx="1888966" cy="710672"/>
          </a:xfrm>
          <a:prstGeom prst="rect">
            <a:avLst/>
          </a:prstGeom>
          <a:solidFill>
            <a:srgbClr val="008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18288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r>
              <a:rPr lang="en-US" sz="700" b="1" dirty="0" smtClean="0">
                <a:solidFill>
                  <a:schemeClr val="bg1"/>
                </a:solidFill>
                <a:latin typeface="Arial"/>
                <a:cs typeface="Arial"/>
              </a:rPr>
              <a:t>App Server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465069" y="1562854"/>
            <a:ext cx="1888966" cy="710672"/>
          </a:xfrm>
          <a:prstGeom prst="rect">
            <a:avLst/>
          </a:prstGeom>
          <a:solidFill>
            <a:srgbClr val="008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18288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700" b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Client</a:t>
            </a:r>
          </a:p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(Browser)</a:t>
            </a:r>
            <a:endParaRPr kumimoji="0" lang="en-US" sz="700" b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</p:txBody>
      </p:sp>
      <p:sp>
        <p:nvSpPr>
          <p:cNvPr id="37" name="Down Arrow 36"/>
          <p:cNvSpPr/>
          <p:nvPr/>
        </p:nvSpPr>
        <p:spPr bwMode="auto">
          <a:xfrm flipV="1">
            <a:off x="1604765" y="2175997"/>
            <a:ext cx="143239" cy="414558"/>
          </a:xfrm>
          <a:prstGeom prst="downArrow">
            <a:avLst/>
          </a:prstGeom>
          <a:solidFill>
            <a:srgbClr val="99FF99"/>
          </a:solidFill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</a:endParaRPr>
          </a:p>
        </p:txBody>
      </p:sp>
      <p:sp>
        <p:nvSpPr>
          <p:cNvPr id="38" name="Down Arrow 37"/>
          <p:cNvSpPr/>
          <p:nvPr/>
        </p:nvSpPr>
        <p:spPr bwMode="auto">
          <a:xfrm flipV="1">
            <a:off x="1568209" y="3131536"/>
            <a:ext cx="143239" cy="302378"/>
          </a:xfrm>
          <a:prstGeom prst="downArrow">
            <a:avLst/>
          </a:prstGeom>
          <a:solidFill>
            <a:srgbClr val="99FF99"/>
          </a:solidFill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39" name="Flowchart: Document 11"/>
          <p:cNvSpPr/>
          <p:nvPr/>
        </p:nvSpPr>
        <p:spPr bwMode="auto">
          <a:xfrm>
            <a:off x="1789782" y="2296087"/>
            <a:ext cx="417781" cy="203989"/>
          </a:xfrm>
          <a:prstGeom prst="flowChartDocument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HTML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465069" y="3457039"/>
            <a:ext cx="1888966" cy="385417"/>
          </a:xfrm>
          <a:prstGeom prst="rect">
            <a:avLst/>
          </a:prstGeom>
          <a:solidFill>
            <a:srgbClr val="008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18288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r>
              <a:rPr lang="en-US" sz="700" b="1" dirty="0">
                <a:solidFill>
                  <a:schemeClr val="bg1"/>
                </a:solidFill>
                <a:latin typeface="Arial"/>
                <a:cs typeface="Arial"/>
              </a:rPr>
              <a:t>Backend</a:t>
            </a:r>
          </a:p>
        </p:txBody>
      </p:sp>
      <p:sp>
        <p:nvSpPr>
          <p:cNvPr id="41" name="Flowchart: Magnetic Disk 8"/>
          <p:cNvSpPr/>
          <p:nvPr/>
        </p:nvSpPr>
        <p:spPr bwMode="auto">
          <a:xfrm>
            <a:off x="1404081" y="3484300"/>
            <a:ext cx="471495" cy="315855"/>
          </a:xfrm>
          <a:prstGeom prst="flowChartMagneticDisk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DB</a:t>
            </a:r>
          </a:p>
        </p:txBody>
      </p:sp>
      <p:sp>
        <p:nvSpPr>
          <p:cNvPr id="42" name="Snip Single Corner Rectangle 41"/>
          <p:cNvSpPr/>
          <p:nvPr/>
        </p:nvSpPr>
        <p:spPr bwMode="auto">
          <a:xfrm>
            <a:off x="1249895" y="1635238"/>
            <a:ext cx="820641" cy="514203"/>
          </a:xfrm>
          <a:prstGeom prst="snip1Rect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/>
                <a:cs typeface="Arial"/>
              </a:rPr>
              <a:t>Page</a:t>
            </a:r>
          </a:p>
        </p:txBody>
      </p:sp>
      <p:sp>
        <p:nvSpPr>
          <p:cNvPr id="43" name="Rounded Rectangle 42"/>
          <p:cNvSpPr/>
          <p:nvPr/>
        </p:nvSpPr>
        <p:spPr bwMode="auto">
          <a:xfrm>
            <a:off x="1304604" y="1820426"/>
            <a:ext cx="703265" cy="236891"/>
          </a:xfrm>
          <a:prstGeom prst="roundRect">
            <a:avLst>
              <a:gd name="adj" fmla="val 50000"/>
            </a:avLst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Handlers</a:t>
            </a:r>
          </a:p>
        </p:txBody>
      </p:sp>
      <p:sp>
        <p:nvSpPr>
          <p:cNvPr id="44" name="Rounded Rectangle 43"/>
          <p:cNvSpPr/>
          <p:nvPr/>
        </p:nvSpPr>
        <p:spPr bwMode="auto">
          <a:xfrm>
            <a:off x="1325494" y="1846747"/>
            <a:ext cx="703265" cy="236891"/>
          </a:xfrm>
          <a:prstGeom prst="roundRect">
            <a:avLst>
              <a:gd name="adj" fmla="val 50000"/>
            </a:avLst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45" name="Rounded Rectangle 44"/>
          <p:cNvSpPr/>
          <p:nvPr/>
        </p:nvSpPr>
        <p:spPr bwMode="auto">
          <a:xfrm>
            <a:off x="1346383" y="1873068"/>
            <a:ext cx="703265" cy="236891"/>
          </a:xfrm>
          <a:prstGeom prst="roundRect">
            <a:avLst>
              <a:gd name="adj" fmla="val 50000"/>
            </a:avLst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Event Handlers</a:t>
            </a:r>
          </a:p>
        </p:txBody>
      </p:sp>
      <p:sp>
        <p:nvSpPr>
          <p:cNvPr id="46" name="Trapezoid 45"/>
          <p:cNvSpPr/>
          <p:nvPr/>
        </p:nvSpPr>
        <p:spPr bwMode="auto">
          <a:xfrm>
            <a:off x="1815893" y="3250230"/>
            <a:ext cx="410818" cy="171088"/>
          </a:xfrm>
          <a:prstGeom prst="trapezoid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Data</a:t>
            </a:r>
          </a:p>
        </p:txBody>
      </p:sp>
      <p:sp>
        <p:nvSpPr>
          <p:cNvPr id="47" name="Rounded Rectangle 46"/>
          <p:cNvSpPr/>
          <p:nvPr/>
        </p:nvSpPr>
        <p:spPr bwMode="auto">
          <a:xfrm>
            <a:off x="870883" y="2837155"/>
            <a:ext cx="475478" cy="310213"/>
          </a:xfrm>
          <a:prstGeom prst="roundRect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Model</a:t>
            </a:r>
          </a:p>
        </p:txBody>
      </p:sp>
      <p:sp>
        <p:nvSpPr>
          <p:cNvPr id="48" name="Rounded Rectangle 47"/>
          <p:cNvSpPr/>
          <p:nvPr/>
        </p:nvSpPr>
        <p:spPr bwMode="auto">
          <a:xfrm>
            <a:off x="1308588" y="2614384"/>
            <a:ext cx="710228" cy="190829"/>
          </a:xfrm>
          <a:prstGeom prst="roundRect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View</a:t>
            </a:r>
          </a:p>
        </p:txBody>
      </p:sp>
      <p:sp>
        <p:nvSpPr>
          <p:cNvPr id="49" name="Rounded Rectangle 48"/>
          <p:cNvSpPr/>
          <p:nvPr/>
        </p:nvSpPr>
        <p:spPr bwMode="auto">
          <a:xfrm>
            <a:off x="1314558" y="2917076"/>
            <a:ext cx="710228" cy="190829"/>
          </a:xfrm>
          <a:prstGeom prst="roundRect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Services</a:t>
            </a:r>
          </a:p>
        </p:txBody>
      </p:sp>
      <p:sp>
        <p:nvSpPr>
          <p:cNvPr id="50" name="Rounded Rectangle 49"/>
          <p:cNvSpPr/>
          <p:nvPr/>
        </p:nvSpPr>
        <p:spPr bwMode="auto">
          <a:xfrm>
            <a:off x="1547317" y="2764791"/>
            <a:ext cx="710228" cy="190829"/>
          </a:xfrm>
          <a:prstGeom prst="roundRect">
            <a:avLst/>
          </a:prstGeom>
          <a:solidFill>
            <a:srgbClr val="99FF99"/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00" b="1" dirty="0">
                <a:solidFill>
                  <a:schemeClr val="tx1"/>
                </a:solidFill>
                <a:latin typeface="Arial"/>
                <a:cs typeface="Arial"/>
              </a:rPr>
              <a:t>Controller</a:t>
            </a:r>
          </a:p>
        </p:txBody>
      </p:sp>
      <p:sp>
        <p:nvSpPr>
          <p:cNvPr id="51" name="Can 50"/>
          <p:cNvSpPr/>
          <p:nvPr/>
        </p:nvSpPr>
        <p:spPr>
          <a:xfrm>
            <a:off x="3263356" y="1918628"/>
            <a:ext cx="446900" cy="314701"/>
          </a:xfrm>
          <a:prstGeom prst="can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Local Data</a:t>
            </a:r>
          </a:p>
        </p:txBody>
      </p:sp>
      <p:sp>
        <p:nvSpPr>
          <p:cNvPr id="52" name="Down Arrow 51"/>
          <p:cNvSpPr/>
          <p:nvPr/>
        </p:nvSpPr>
        <p:spPr bwMode="auto">
          <a:xfrm>
            <a:off x="4202977" y="2249282"/>
            <a:ext cx="143239" cy="1212673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 w="38100" cmpd="sng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endParaRPr lang="en-US" sz="6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  <p:sp>
        <p:nvSpPr>
          <p:cNvPr id="53" name="Rounded Rectangle 52"/>
          <p:cNvSpPr/>
          <p:nvPr/>
        </p:nvSpPr>
        <p:spPr bwMode="auto">
          <a:xfrm>
            <a:off x="4090417" y="3077111"/>
            <a:ext cx="821299" cy="10303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500" b="1" dirty="0" smtClean="0">
                <a:solidFill>
                  <a:schemeClr val="bg1"/>
                </a:solidFill>
                <a:latin typeface="Avenir Next Regular"/>
                <a:cs typeface="Avenir Next Regular"/>
              </a:rPr>
              <a:t>HTTP/ WebSockets</a:t>
            </a:r>
            <a:endParaRPr lang="en-US" sz="5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  <p:sp>
        <p:nvSpPr>
          <p:cNvPr id="54" name="Rounded Rectangle 53"/>
          <p:cNvSpPr/>
          <p:nvPr/>
        </p:nvSpPr>
        <p:spPr bwMode="auto">
          <a:xfrm>
            <a:off x="4090417" y="2939668"/>
            <a:ext cx="822673" cy="10303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Services</a:t>
            </a:r>
          </a:p>
        </p:txBody>
      </p:sp>
      <p:sp>
        <p:nvSpPr>
          <p:cNvPr id="55" name="Rounded Rectangle 54"/>
          <p:cNvSpPr/>
          <p:nvPr/>
        </p:nvSpPr>
        <p:spPr bwMode="auto">
          <a:xfrm>
            <a:off x="3955810" y="2539850"/>
            <a:ext cx="1066672" cy="370454"/>
          </a:xfrm>
          <a:prstGeom prst="roundRect">
            <a:avLst/>
          </a:prstGeom>
          <a:solidFill>
            <a:srgbClr val="FF6666"/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>
                <a:solidFill>
                  <a:schemeClr val="bg1"/>
                </a:solidFill>
                <a:latin typeface="Avenir Next Regular"/>
                <a:cs typeface="Avenir Next Regular"/>
              </a:rPr>
              <a:t>API </a:t>
            </a:r>
            <a:r>
              <a:rPr lang="en-US" sz="600" b="1" dirty="0" smtClean="0">
                <a:solidFill>
                  <a:schemeClr val="bg1"/>
                </a:solidFill>
                <a:latin typeface="Avenir Next Regular"/>
                <a:cs typeface="Avenir Next Regular"/>
              </a:rPr>
              <a:t>Façade / Gateway</a:t>
            </a:r>
            <a:endParaRPr lang="en-US" sz="6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  <p:sp>
        <p:nvSpPr>
          <p:cNvPr id="59" name="Flowchart: Magnetic Disk 29"/>
          <p:cNvSpPr/>
          <p:nvPr/>
        </p:nvSpPr>
        <p:spPr bwMode="auto">
          <a:xfrm>
            <a:off x="3670025" y="3484300"/>
            <a:ext cx="590581" cy="318079"/>
          </a:xfrm>
          <a:prstGeom prst="flowChartMagneticDisk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600" b="1" dirty="0" smtClean="0">
                <a:solidFill>
                  <a:schemeClr val="bg1"/>
                </a:solidFill>
                <a:latin typeface="Avenir Next Regular"/>
                <a:cs typeface="Avenir Next Regular"/>
              </a:rPr>
              <a:t>Systems of Record</a:t>
            </a:r>
            <a:endParaRPr lang="en-US" sz="6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067124" y="2695557"/>
            <a:ext cx="865855" cy="162865"/>
            <a:chOff x="4067124" y="2695557"/>
            <a:chExt cx="865855" cy="162865"/>
          </a:xfrm>
        </p:grpSpPr>
        <p:sp>
          <p:nvSpPr>
            <p:cNvPr id="56" name="Rounded Rectangle 55"/>
            <p:cNvSpPr/>
            <p:nvPr/>
          </p:nvSpPr>
          <p:spPr bwMode="auto">
            <a:xfrm>
              <a:off x="4111280" y="2723704"/>
              <a:ext cx="751510" cy="113451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85000"/>
                  <a:lumOff val="1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lnSpc>
                  <a:spcPct val="80000"/>
                </a:lnSpc>
              </a:pPr>
              <a:endParaRPr lang="en-US" sz="600" b="1" dirty="0">
                <a:solidFill>
                  <a:schemeClr val="bg1"/>
                </a:solidFill>
                <a:latin typeface="Avenir Next Regular"/>
                <a:cs typeface="Avenir Next Regular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4067124" y="2695557"/>
              <a:ext cx="865855" cy="1628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80000"/>
                </a:lnSpc>
              </a:pPr>
              <a:r>
                <a:rPr lang="en-US" sz="550" b="1" dirty="0">
                  <a:solidFill>
                    <a:schemeClr val="bg1"/>
                  </a:solidFill>
                  <a:latin typeface="Avenir Next Regular"/>
                  <a:cs typeface="Avenir Next Regular"/>
                </a:rPr>
                <a:t>Security / Execution</a:t>
              </a: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5553" y="4010221"/>
            <a:ext cx="426052" cy="506948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57" y="4338069"/>
            <a:ext cx="469694" cy="248938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12" y="3911832"/>
            <a:ext cx="889237" cy="444619"/>
          </a:xfrm>
          <a:prstGeom prst="rect">
            <a:avLst/>
          </a:prstGeom>
        </p:spPr>
      </p:pic>
      <p:grpSp>
        <p:nvGrpSpPr>
          <p:cNvPr id="61" name="Group 60"/>
          <p:cNvGrpSpPr/>
          <p:nvPr/>
        </p:nvGrpSpPr>
        <p:grpSpPr>
          <a:xfrm>
            <a:off x="8273908" y="155559"/>
            <a:ext cx="480322" cy="480322"/>
            <a:chOff x="8291119" y="101204"/>
            <a:chExt cx="321235" cy="321235"/>
          </a:xfrm>
        </p:grpSpPr>
        <p:sp>
          <p:nvSpPr>
            <p:cNvPr id="62" name="Oval 61"/>
            <p:cNvSpPr/>
            <p:nvPr/>
          </p:nvSpPr>
          <p:spPr>
            <a:xfrm>
              <a:off x="8291119" y="101204"/>
              <a:ext cx="321235" cy="321235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3" name="Picture 62"/>
            <p:cNvPicPr>
              <a:picLocks noChangeAspect="1"/>
            </p:cNvPicPr>
            <p:nvPr/>
          </p:nvPicPr>
          <p:blipFill rotWithShape="1">
            <a:blip r:embed="rId10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58943" y="164191"/>
              <a:ext cx="193275" cy="2193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488779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ghtweight Architecture at Accenture - Cap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159553" y="859005"/>
            <a:ext cx="4843821" cy="3735618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Expert architects in North America and Europe</a:t>
            </a:r>
          </a:p>
          <a:p>
            <a:r>
              <a:rPr lang="en-US" dirty="0" smtClean="0"/>
              <a:t>Delivery capability in the US, Mexico, Slovakia, Latvia, Singapore, and India</a:t>
            </a:r>
          </a:p>
          <a:p>
            <a:r>
              <a:rPr lang="en-US" dirty="0" smtClean="0"/>
              <a:t>Focused expertise in JavaScript/HTML5 UI, </a:t>
            </a:r>
            <a:r>
              <a:rPr lang="en-US" dirty="0" err="1" smtClean="0"/>
              <a:t>node.js</a:t>
            </a:r>
            <a:r>
              <a:rPr lang="en-US" dirty="0" smtClean="0"/>
              <a:t> for enterprise, reactive architectures, </a:t>
            </a:r>
            <a:r>
              <a:rPr lang="en-US" dirty="0" err="1" smtClean="0"/>
              <a:t>Scala</a:t>
            </a:r>
            <a:r>
              <a:rPr lang="en-US" dirty="0" smtClean="0"/>
              <a:t>, </a:t>
            </a:r>
            <a:r>
              <a:rPr lang="en-US" dirty="0" err="1" smtClean="0"/>
              <a:t>noSQL</a:t>
            </a:r>
            <a:r>
              <a:rPr lang="en-US" dirty="0" smtClean="0"/>
              <a:t>, deployment containers, DevOps and other technologies and capabilities. </a:t>
            </a:r>
            <a:endParaRPr lang="en-US" dirty="0"/>
          </a:p>
        </p:txBody>
      </p:sp>
      <p:pic>
        <p:nvPicPr>
          <p:cNvPr id="4" name="Picture 3" descr="BlankMap-World-Continent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869" y="859005"/>
            <a:ext cx="4454122" cy="206130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547540" y="3640659"/>
            <a:ext cx="1392296" cy="978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595959"/>
                </a:solidFill>
              </a:rPr>
              <a:t>LWA Logo</a:t>
            </a: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10" name="Oval 2"/>
          <p:cNvSpPr/>
          <p:nvPr/>
        </p:nvSpPr>
        <p:spPr>
          <a:xfrm rot="19328668">
            <a:off x="6643884" y="781735"/>
            <a:ext cx="368300" cy="571500"/>
          </a:xfrm>
          <a:custGeom>
            <a:avLst/>
            <a:gdLst/>
            <a:ahLst/>
            <a:cxnLst/>
            <a:rect l="l" t="t" r="r" b="b"/>
            <a:pathLst>
              <a:path w="495300" h="863600">
                <a:moveTo>
                  <a:pt x="247650" y="0"/>
                </a:moveTo>
                <a:cubicBezTo>
                  <a:pt x="384423" y="0"/>
                  <a:pt x="495300" y="110877"/>
                  <a:pt x="495300" y="247650"/>
                </a:cubicBezTo>
                <a:cubicBezTo>
                  <a:pt x="495300" y="333133"/>
                  <a:pt x="451989" y="408501"/>
                  <a:pt x="386113" y="453005"/>
                </a:cubicBezTo>
                <a:lnTo>
                  <a:pt x="350644" y="472258"/>
                </a:lnTo>
                <a:lnTo>
                  <a:pt x="241298" y="863600"/>
                </a:lnTo>
                <a:lnTo>
                  <a:pt x="129683" y="464130"/>
                </a:lnTo>
                <a:lnTo>
                  <a:pt x="109187" y="453005"/>
                </a:lnTo>
                <a:cubicBezTo>
                  <a:pt x="43312" y="408501"/>
                  <a:pt x="0" y="333133"/>
                  <a:pt x="0" y="247650"/>
                </a:cubicBezTo>
                <a:cubicBezTo>
                  <a:pt x="0" y="110877"/>
                  <a:pt x="110877" y="0"/>
                  <a:pt x="247650" y="0"/>
                </a:cubicBezTo>
                <a:close/>
              </a:path>
            </a:pathLst>
          </a:custGeom>
          <a:solidFill>
            <a:srgbClr val="C91C1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  <a:cs typeface="Helvetica Neue"/>
            </a:endParaRPr>
          </a:p>
        </p:txBody>
      </p:sp>
      <p:sp>
        <p:nvSpPr>
          <p:cNvPr id="11" name="TextBox 10"/>
          <p:cNvSpPr txBox="1"/>
          <p:nvPr/>
        </p:nvSpPr>
        <p:spPr>
          <a:xfrm rot="19328668">
            <a:off x="6464358" y="759112"/>
            <a:ext cx="614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Helvetica Neue"/>
                <a:cs typeface="Helvetica Neue"/>
              </a:rPr>
              <a:t> 20</a:t>
            </a:r>
            <a:endParaRPr lang="en-US" dirty="0">
              <a:solidFill>
                <a:schemeClr val="bg1">
                  <a:lumMod val="95000"/>
                </a:schemeClr>
              </a:solidFill>
              <a:latin typeface="Helvetica Neue"/>
              <a:cs typeface="Helvetica Neue"/>
            </a:endParaRPr>
          </a:p>
        </p:txBody>
      </p:sp>
      <p:sp>
        <p:nvSpPr>
          <p:cNvPr id="12" name="Oval 2"/>
          <p:cNvSpPr/>
          <p:nvPr/>
        </p:nvSpPr>
        <p:spPr>
          <a:xfrm>
            <a:off x="5539786" y="935787"/>
            <a:ext cx="368300" cy="571500"/>
          </a:xfrm>
          <a:custGeom>
            <a:avLst/>
            <a:gdLst/>
            <a:ahLst/>
            <a:cxnLst/>
            <a:rect l="l" t="t" r="r" b="b"/>
            <a:pathLst>
              <a:path w="495300" h="863600">
                <a:moveTo>
                  <a:pt x="247650" y="0"/>
                </a:moveTo>
                <a:cubicBezTo>
                  <a:pt x="384423" y="0"/>
                  <a:pt x="495300" y="110877"/>
                  <a:pt x="495300" y="247650"/>
                </a:cubicBezTo>
                <a:cubicBezTo>
                  <a:pt x="495300" y="333133"/>
                  <a:pt x="451989" y="408501"/>
                  <a:pt x="386113" y="453005"/>
                </a:cubicBezTo>
                <a:lnTo>
                  <a:pt x="350644" y="472258"/>
                </a:lnTo>
                <a:lnTo>
                  <a:pt x="241298" y="863600"/>
                </a:lnTo>
                <a:lnTo>
                  <a:pt x="129683" y="464130"/>
                </a:lnTo>
                <a:lnTo>
                  <a:pt x="109187" y="453005"/>
                </a:lnTo>
                <a:cubicBezTo>
                  <a:pt x="43312" y="408501"/>
                  <a:pt x="0" y="333133"/>
                  <a:pt x="0" y="247650"/>
                </a:cubicBezTo>
                <a:cubicBezTo>
                  <a:pt x="0" y="110877"/>
                  <a:pt x="110877" y="0"/>
                  <a:pt x="247650" y="0"/>
                </a:cubicBezTo>
                <a:close/>
              </a:path>
            </a:pathLst>
          </a:custGeom>
          <a:solidFill>
            <a:srgbClr val="C91C1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  <a:cs typeface="Helvetica Neue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54330" y="913164"/>
            <a:ext cx="614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Helvetica Neue"/>
                <a:cs typeface="Helvetica Neue"/>
              </a:rPr>
              <a:t> 50</a:t>
            </a:r>
            <a:endParaRPr lang="en-US" dirty="0">
              <a:solidFill>
                <a:schemeClr val="bg1">
                  <a:lumMod val="95000"/>
                </a:schemeClr>
              </a:solidFill>
              <a:latin typeface="Helvetica Neue"/>
              <a:cs typeface="Helvetica Neue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7562695" y="1229956"/>
            <a:ext cx="614526" cy="616515"/>
            <a:chOff x="5521304" y="3258446"/>
            <a:chExt cx="614526" cy="616515"/>
          </a:xfrm>
        </p:grpSpPr>
        <p:sp>
          <p:nvSpPr>
            <p:cNvPr id="14" name="Oval 2"/>
            <p:cNvSpPr/>
            <p:nvPr/>
          </p:nvSpPr>
          <p:spPr>
            <a:xfrm>
              <a:off x="5634196" y="3303461"/>
              <a:ext cx="368300" cy="571500"/>
            </a:xfrm>
            <a:custGeom>
              <a:avLst/>
              <a:gdLst/>
              <a:ahLst/>
              <a:cxnLst/>
              <a:rect l="l" t="t" r="r" b="b"/>
              <a:pathLst>
                <a:path w="495300" h="863600">
                  <a:moveTo>
                    <a:pt x="247650" y="0"/>
                  </a:moveTo>
                  <a:cubicBezTo>
                    <a:pt x="384423" y="0"/>
                    <a:pt x="495300" y="110877"/>
                    <a:pt x="495300" y="247650"/>
                  </a:cubicBezTo>
                  <a:cubicBezTo>
                    <a:pt x="495300" y="333133"/>
                    <a:pt x="451989" y="408501"/>
                    <a:pt x="386113" y="453005"/>
                  </a:cubicBezTo>
                  <a:lnTo>
                    <a:pt x="350644" y="472258"/>
                  </a:lnTo>
                  <a:lnTo>
                    <a:pt x="241298" y="863600"/>
                  </a:lnTo>
                  <a:lnTo>
                    <a:pt x="129683" y="464130"/>
                  </a:lnTo>
                  <a:lnTo>
                    <a:pt x="109187" y="453005"/>
                  </a:lnTo>
                  <a:cubicBezTo>
                    <a:pt x="43312" y="408501"/>
                    <a:pt x="0" y="333133"/>
                    <a:pt x="0" y="247650"/>
                  </a:cubicBezTo>
                  <a:cubicBezTo>
                    <a:pt x="0" y="110877"/>
                    <a:pt x="110877" y="0"/>
                    <a:pt x="247650" y="0"/>
                  </a:cubicBezTo>
                  <a:close/>
                </a:path>
              </a:pathLst>
            </a:custGeom>
            <a:solidFill>
              <a:srgbClr val="C91C1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  <a:cs typeface="Helvetica Neue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21304" y="3258446"/>
              <a:ext cx="6145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chemeClr val="bg1">
                      <a:lumMod val="95000"/>
                    </a:schemeClr>
                  </a:solidFill>
                  <a:latin typeface="Helvetica Neue"/>
                  <a:cs typeface="Helvetica Neue"/>
                </a:rPr>
                <a:t> </a:t>
              </a:r>
              <a:r>
                <a:rPr lang="en-US" sz="1200" dirty="0" smtClean="0">
                  <a:solidFill>
                    <a:schemeClr val="bg1">
                      <a:lumMod val="95000"/>
                    </a:schemeClr>
                  </a:solidFill>
                  <a:latin typeface="Helvetica Neue"/>
                  <a:cs typeface="Helvetica Neue"/>
                </a:rPr>
                <a:t>300</a:t>
              </a:r>
              <a:endParaRPr lang="en-US" sz="1200" dirty="0">
                <a:solidFill>
                  <a:schemeClr val="bg1">
                    <a:lumMod val="95000"/>
                  </a:schemeClr>
                </a:solidFill>
                <a:latin typeface="Helvetica Neue"/>
                <a:cs typeface="Helvetica Neue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987445" y="1445340"/>
            <a:ext cx="614526" cy="588294"/>
            <a:chOff x="4757570" y="3331682"/>
            <a:chExt cx="614526" cy="588294"/>
          </a:xfrm>
        </p:grpSpPr>
        <p:sp>
          <p:nvSpPr>
            <p:cNvPr id="16" name="Oval 2"/>
            <p:cNvSpPr/>
            <p:nvPr/>
          </p:nvSpPr>
          <p:spPr>
            <a:xfrm>
              <a:off x="4814020" y="3348476"/>
              <a:ext cx="368300" cy="571500"/>
            </a:xfrm>
            <a:custGeom>
              <a:avLst/>
              <a:gdLst/>
              <a:ahLst/>
              <a:cxnLst/>
              <a:rect l="l" t="t" r="r" b="b"/>
              <a:pathLst>
                <a:path w="495300" h="863600">
                  <a:moveTo>
                    <a:pt x="247650" y="0"/>
                  </a:moveTo>
                  <a:cubicBezTo>
                    <a:pt x="384423" y="0"/>
                    <a:pt x="495300" y="110877"/>
                    <a:pt x="495300" y="247650"/>
                  </a:cubicBezTo>
                  <a:cubicBezTo>
                    <a:pt x="495300" y="333133"/>
                    <a:pt x="451989" y="408501"/>
                    <a:pt x="386113" y="453005"/>
                  </a:cubicBezTo>
                  <a:lnTo>
                    <a:pt x="350644" y="472258"/>
                  </a:lnTo>
                  <a:lnTo>
                    <a:pt x="241298" y="863600"/>
                  </a:lnTo>
                  <a:lnTo>
                    <a:pt x="129683" y="464130"/>
                  </a:lnTo>
                  <a:lnTo>
                    <a:pt x="109187" y="453005"/>
                  </a:lnTo>
                  <a:cubicBezTo>
                    <a:pt x="43312" y="408501"/>
                    <a:pt x="0" y="333133"/>
                    <a:pt x="0" y="247650"/>
                  </a:cubicBezTo>
                  <a:cubicBezTo>
                    <a:pt x="0" y="110877"/>
                    <a:pt x="110877" y="0"/>
                    <a:pt x="247650" y="0"/>
                  </a:cubicBezTo>
                  <a:close/>
                </a:path>
              </a:pathLst>
            </a:custGeom>
            <a:solidFill>
              <a:srgbClr val="C91C1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  <a:cs typeface="Helvetica Neue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757570" y="3331682"/>
              <a:ext cx="6145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chemeClr val="bg1">
                      <a:lumMod val="95000"/>
                    </a:schemeClr>
                  </a:solidFill>
                  <a:latin typeface="Helvetica Neue"/>
                  <a:cs typeface="Helvetica Neue"/>
                </a:rPr>
                <a:t>10</a:t>
              </a:r>
              <a:endParaRPr lang="en-US" dirty="0">
                <a:solidFill>
                  <a:schemeClr val="bg1">
                    <a:lumMod val="95000"/>
                  </a:schemeClr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9" name="Oval 2"/>
          <p:cNvSpPr/>
          <p:nvPr/>
        </p:nvSpPr>
        <p:spPr>
          <a:xfrm rot="1407972">
            <a:off x="7032017" y="794320"/>
            <a:ext cx="368300" cy="571500"/>
          </a:xfrm>
          <a:custGeom>
            <a:avLst/>
            <a:gdLst/>
            <a:ahLst/>
            <a:cxnLst/>
            <a:rect l="l" t="t" r="r" b="b"/>
            <a:pathLst>
              <a:path w="495300" h="863600">
                <a:moveTo>
                  <a:pt x="247650" y="0"/>
                </a:moveTo>
                <a:cubicBezTo>
                  <a:pt x="384423" y="0"/>
                  <a:pt x="495300" y="110877"/>
                  <a:pt x="495300" y="247650"/>
                </a:cubicBezTo>
                <a:cubicBezTo>
                  <a:pt x="495300" y="333133"/>
                  <a:pt x="451989" y="408501"/>
                  <a:pt x="386113" y="453005"/>
                </a:cubicBezTo>
                <a:lnTo>
                  <a:pt x="350644" y="472258"/>
                </a:lnTo>
                <a:lnTo>
                  <a:pt x="241298" y="863600"/>
                </a:lnTo>
                <a:lnTo>
                  <a:pt x="129683" y="464130"/>
                </a:lnTo>
                <a:lnTo>
                  <a:pt x="109187" y="453005"/>
                </a:lnTo>
                <a:cubicBezTo>
                  <a:pt x="43312" y="408501"/>
                  <a:pt x="0" y="333133"/>
                  <a:pt x="0" y="247650"/>
                </a:cubicBezTo>
                <a:cubicBezTo>
                  <a:pt x="0" y="110877"/>
                  <a:pt x="110877" y="0"/>
                  <a:pt x="247650" y="0"/>
                </a:cubicBezTo>
                <a:close/>
              </a:path>
            </a:pathLst>
          </a:custGeom>
          <a:solidFill>
            <a:srgbClr val="C91C1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  <a:cs typeface="Helvetica Neue"/>
            </a:endParaRPr>
          </a:p>
        </p:txBody>
      </p:sp>
      <p:sp>
        <p:nvSpPr>
          <p:cNvPr id="20" name="TextBox 19"/>
          <p:cNvSpPr txBox="1"/>
          <p:nvPr/>
        </p:nvSpPr>
        <p:spPr>
          <a:xfrm rot="1407972">
            <a:off x="6965375" y="781104"/>
            <a:ext cx="614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Helvetica Neue"/>
                <a:cs typeface="Helvetica Neue"/>
              </a:rPr>
              <a:t> 30</a:t>
            </a:r>
            <a:endParaRPr lang="en-US" dirty="0">
              <a:solidFill>
                <a:schemeClr val="bg1">
                  <a:lumMod val="95000"/>
                </a:schemeClr>
              </a:solidFill>
              <a:latin typeface="Helvetica Neue"/>
              <a:cs typeface="Helvetica Neue"/>
            </a:endParaRPr>
          </a:p>
        </p:txBody>
      </p:sp>
      <p:sp>
        <p:nvSpPr>
          <p:cNvPr id="22" name="Oval 2"/>
          <p:cNvSpPr/>
          <p:nvPr/>
        </p:nvSpPr>
        <p:spPr>
          <a:xfrm rot="19916508">
            <a:off x="5116139" y="1159590"/>
            <a:ext cx="368300" cy="571500"/>
          </a:xfrm>
          <a:custGeom>
            <a:avLst/>
            <a:gdLst/>
            <a:ahLst/>
            <a:cxnLst/>
            <a:rect l="l" t="t" r="r" b="b"/>
            <a:pathLst>
              <a:path w="495300" h="863600">
                <a:moveTo>
                  <a:pt x="247650" y="0"/>
                </a:moveTo>
                <a:cubicBezTo>
                  <a:pt x="384423" y="0"/>
                  <a:pt x="495300" y="110877"/>
                  <a:pt x="495300" y="247650"/>
                </a:cubicBezTo>
                <a:cubicBezTo>
                  <a:pt x="495300" y="333133"/>
                  <a:pt x="451989" y="408501"/>
                  <a:pt x="386113" y="453005"/>
                </a:cubicBezTo>
                <a:lnTo>
                  <a:pt x="350644" y="472258"/>
                </a:lnTo>
                <a:lnTo>
                  <a:pt x="241298" y="863600"/>
                </a:lnTo>
                <a:lnTo>
                  <a:pt x="129683" y="464130"/>
                </a:lnTo>
                <a:lnTo>
                  <a:pt x="109187" y="453005"/>
                </a:lnTo>
                <a:cubicBezTo>
                  <a:pt x="43312" y="408501"/>
                  <a:pt x="0" y="333133"/>
                  <a:pt x="0" y="247650"/>
                </a:cubicBezTo>
                <a:cubicBezTo>
                  <a:pt x="0" y="110877"/>
                  <a:pt x="110877" y="0"/>
                  <a:pt x="247650" y="0"/>
                </a:cubicBezTo>
                <a:close/>
              </a:path>
            </a:pathLst>
          </a:custGeom>
          <a:solidFill>
            <a:srgbClr val="C91C1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  <a:cs typeface="Helvetica Neue"/>
            </a:endParaRPr>
          </a:p>
        </p:txBody>
      </p:sp>
      <p:sp>
        <p:nvSpPr>
          <p:cNvPr id="23" name="TextBox 22"/>
          <p:cNvSpPr txBox="1"/>
          <p:nvPr/>
        </p:nvSpPr>
        <p:spPr>
          <a:xfrm rot="19916508">
            <a:off x="4955427" y="1146374"/>
            <a:ext cx="614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Helvetica Neue"/>
                <a:cs typeface="Helvetica Neue"/>
              </a:rPr>
              <a:t> 40</a:t>
            </a:r>
            <a:endParaRPr lang="en-US" dirty="0">
              <a:solidFill>
                <a:schemeClr val="bg1">
                  <a:lumMod val="95000"/>
                </a:schemeClr>
              </a:solidFill>
              <a:latin typeface="Helvetica Neue"/>
              <a:cs typeface="Helvetica Neue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296371" y="2978704"/>
            <a:ext cx="3662355" cy="307777"/>
          </a:xfrm>
          <a:prstGeom prst="rect">
            <a:avLst/>
          </a:prstGeom>
          <a:solidFill>
            <a:srgbClr val="80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venir Next Regular"/>
                <a:cs typeface="Avenir Next Regular"/>
              </a:rPr>
              <a:t>caption</a:t>
            </a:r>
            <a:endParaRPr lang="en-US" sz="1400" b="1" dirty="0">
              <a:solidFill>
                <a:schemeClr val="bg1"/>
              </a:solidFill>
              <a:latin typeface="Avenir Next Regular"/>
              <a:cs typeface="Avenir N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705972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 2: Technolog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7658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OWP Technology Overview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OWP’s technologies are selected based on several factors. </a:t>
            </a:r>
          </a:p>
          <a:p>
            <a:r>
              <a:rPr lang="en-US" dirty="0" smtClean="0"/>
              <a:t>The needs for each component of the reference architecture is documented, and several candidate technologies are chosen.</a:t>
            </a:r>
          </a:p>
          <a:p>
            <a:r>
              <a:rPr lang="en-US" dirty="0" smtClean="0"/>
              <a:t>In addition to the unique characteristics of each architecture component, candidate technologies are evaluated on common factors, e.g.</a:t>
            </a:r>
          </a:p>
          <a:p>
            <a:pPr lvl="1"/>
            <a:r>
              <a:rPr lang="en-US" dirty="0" smtClean="0"/>
              <a:t>Performance</a:t>
            </a:r>
          </a:p>
          <a:p>
            <a:pPr lvl="1"/>
            <a:r>
              <a:rPr lang="en-US" dirty="0" smtClean="0"/>
              <a:t>Developer Productivity / ease-of-use</a:t>
            </a:r>
          </a:p>
          <a:p>
            <a:pPr lvl="1"/>
            <a:r>
              <a:rPr lang="en-US" dirty="0" smtClean="0"/>
              <a:t>Long term viability / roadmap</a:t>
            </a:r>
          </a:p>
          <a:p>
            <a:pPr lvl="1"/>
            <a:r>
              <a:rPr lang="en-US" dirty="0" smtClean="0"/>
              <a:t>Ease of integration (does it play well with others)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01A0F-09BA-8F4E-BAF1-40291A86EF31}" type="slidenum">
              <a:rPr lang="en-US" smtClean="0"/>
              <a:t>5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latin typeface="Avenir Book"/>
                <a:cs typeface="Avenir Book"/>
              </a:rPr>
              <a:t>© 2014 Accenture All Rights Reserv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0506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ies – MV*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27001" y="869937"/>
            <a:ext cx="6820934" cy="3777321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The Model-View-Controller pattern and similar MV* patterns have become some of the most common in structuring user interface code. JavaScript-based UI is no different.</a:t>
            </a:r>
          </a:p>
          <a:p>
            <a:endParaRPr lang="en-US" dirty="0"/>
          </a:p>
          <a:p>
            <a:r>
              <a:rPr lang="en-US" dirty="0" smtClean="0"/>
              <a:t>AOWP uses two different paths: Backbone/Marionette and </a:t>
            </a:r>
            <a:r>
              <a:rPr lang="en-US" dirty="0" err="1" smtClean="0"/>
              <a:t>Angular.js</a:t>
            </a:r>
            <a:r>
              <a:rPr lang="en-US" dirty="0"/>
              <a:t> </a:t>
            </a:r>
            <a:r>
              <a:rPr lang="en-US" dirty="0" smtClean="0"/>
              <a:t>in order to be flexible for clients.</a:t>
            </a:r>
          </a:p>
          <a:p>
            <a:endParaRPr lang="en-US" dirty="0"/>
          </a:p>
          <a:p>
            <a:r>
              <a:rPr lang="en-US" b="1" dirty="0" err="1" smtClean="0">
                <a:solidFill>
                  <a:srgbClr val="B51C15"/>
                </a:solidFill>
              </a:rPr>
              <a:t>Backbone.js</a:t>
            </a:r>
            <a:r>
              <a:rPr lang="en-US" dirty="0" smtClean="0"/>
              <a:t> and </a:t>
            </a:r>
            <a:r>
              <a:rPr lang="en-US" b="1" dirty="0" smtClean="0">
                <a:solidFill>
                  <a:srgbClr val="B51C15"/>
                </a:solidFill>
              </a:rPr>
              <a:t>Marionette</a:t>
            </a:r>
            <a:r>
              <a:rPr lang="en-US" dirty="0" smtClean="0"/>
              <a:t> are among the most commonly used MV* libraries, and are designed to work well with the rest of the JavaScript ecosystem, as long as they’re wrapped in a consistent reference architecture.</a:t>
            </a:r>
          </a:p>
          <a:p>
            <a:endParaRPr lang="en-US" dirty="0"/>
          </a:p>
          <a:p>
            <a:r>
              <a:rPr lang="en-US" b="1" dirty="0" smtClean="0">
                <a:solidFill>
                  <a:srgbClr val="B51C15"/>
                </a:solidFill>
              </a:rPr>
              <a:t>Angular.js</a:t>
            </a:r>
            <a:r>
              <a:rPr lang="en-US" dirty="0" smtClean="0"/>
              <a:t> is more powerful on its own, but tends to be less flexible, more proscriptive, and follows a product road map / direction that may be incompatible with some system and client requirements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5650" y="1202879"/>
            <a:ext cx="887768" cy="12135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792" y="2750125"/>
            <a:ext cx="1208535" cy="12085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7935" y="1354675"/>
            <a:ext cx="1146460" cy="114646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7049910" y="2585801"/>
            <a:ext cx="2048934" cy="0"/>
          </a:xfrm>
          <a:prstGeom prst="line">
            <a:avLst/>
          </a:prstGeom>
          <a:ln w="44450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223894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ies – Developer Productivit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54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 smtClean="0"/>
              <a:t>Grunt, Yeoman, Bower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27000" y="323367"/>
            <a:ext cx="5252250" cy="424731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Technology Sections to be filled out by LWA Core Team</a:t>
            </a:r>
            <a:endParaRPr lang="en-US" sz="5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36067" y="949126"/>
            <a:ext cx="4048007" cy="160043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Guidance: </a:t>
            </a:r>
          </a:p>
          <a:p>
            <a:pPr algn="ctr"/>
            <a:endParaRPr 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  <a:p>
            <a:pPr algn="ctr"/>
            <a:r>
              <a:rPr lang="en-US" sz="1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ections: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n-US" sz="1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Explanation of need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n-US" sz="1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omponent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n-US" sz="1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1-2 sentences of justification</a:t>
            </a:r>
          </a:p>
          <a:p>
            <a:pPr marL="342900" indent="-342900" algn="ctr">
              <a:buFont typeface="+mj-lt"/>
              <a:buAutoNum type="arabicPeriod"/>
            </a:pPr>
            <a:endParaRPr lang="en-US" sz="1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67341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y - Testing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55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6596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 Component - JavaScript-Powered Clients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6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2134408" y="825091"/>
            <a:ext cx="4356703" cy="3703650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n-US" b="1" dirty="0" smtClean="0">
                <a:solidFill>
                  <a:srgbClr val="595959"/>
                </a:solidFill>
              </a:rPr>
              <a:t>JavaScript now powers User Interfaces from refrigerators to tablets </a:t>
            </a:r>
          </a:p>
          <a:p>
            <a:r>
              <a:rPr lang="en-US" dirty="0" smtClean="0"/>
              <a:t>JavaScript </a:t>
            </a:r>
            <a:r>
              <a:rPr lang="en-US" dirty="0" smtClean="0"/>
              <a:t>is the #1 language on GitHub</a:t>
            </a:r>
          </a:p>
          <a:p>
            <a:r>
              <a:rPr lang="en-US" dirty="0" smtClean="0"/>
              <a:t>JavaScript performance continues to improve across the board</a:t>
            </a:r>
          </a:p>
          <a:p>
            <a:r>
              <a:rPr lang="en-US" dirty="0" smtClean="0"/>
              <a:t>When SDKs are created or new cloud services introduced, JavaScript support tends to arrive </a:t>
            </a:r>
            <a:r>
              <a:rPr lang="en-US" i="1" dirty="0" smtClean="0"/>
              <a:t>before </a:t>
            </a:r>
            <a:r>
              <a:rPr lang="en-US" dirty="0" smtClean="0"/>
              <a:t>any other </a:t>
            </a:r>
            <a:r>
              <a:rPr lang="en-US" dirty="0" smtClean="0"/>
              <a:t>language</a:t>
            </a:r>
          </a:p>
          <a:p>
            <a:r>
              <a:rPr lang="en-US" dirty="0" err="1"/>
              <a:t>Node.js</a:t>
            </a:r>
            <a:r>
              <a:rPr lang="en-US" dirty="0"/>
              <a:t> rose to become the world’s largest open source project in record time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9551" y="3683576"/>
            <a:ext cx="819463" cy="81946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961135" y="1253626"/>
            <a:ext cx="1302475" cy="11186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accent2">
                    <a:lumMod val="85000"/>
                    <a:lumOff val="15000"/>
                  </a:schemeClr>
                </a:solidFill>
              </a:rPr>
              <a:t>JS Performance Graph</a:t>
            </a:r>
            <a:endParaRPr lang="en-US" sz="1000" dirty="0">
              <a:solidFill>
                <a:schemeClr val="accent2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1288" y="2676916"/>
            <a:ext cx="2549119" cy="87258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17638" y="2990198"/>
            <a:ext cx="1302475" cy="11186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accent2">
                    <a:lumMod val="85000"/>
                    <a:lumOff val="15000"/>
                  </a:schemeClr>
                </a:solidFill>
              </a:rPr>
              <a:t>JS-Powered Devices</a:t>
            </a:r>
            <a:endParaRPr lang="en-US" sz="1000" dirty="0">
              <a:solidFill>
                <a:schemeClr val="accent2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627" y="1047111"/>
            <a:ext cx="1777230" cy="1108505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TextBox 14"/>
          <p:cNvSpPr txBox="1"/>
          <p:nvPr/>
        </p:nvSpPr>
        <p:spPr>
          <a:xfrm>
            <a:off x="-20804" y="2155616"/>
            <a:ext cx="217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atin typeface="Avenir Next Regular"/>
                <a:cs typeface="Avenir Next Regular"/>
              </a:rPr>
              <a:t>JavaScript powers many device SDKs</a:t>
            </a:r>
            <a:endParaRPr lang="en-US" sz="1400" dirty="0">
              <a:latin typeface="Avenir Next Regular"/>
              <a:cs typeface="Avenir Next Regular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/>
          <a:srcRect l="28190" r="28292"/>
          <a:stretch/>
        </p:blipFill>
        <p:spPr>
          <a:xfrm>
            <a:off x="79964" y="813444"/>
            <a:ext cx="874889" cy="818708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17" name="Group 16"/>
          <p:cNvGrpSpPr/>
          <p:nvPr/>
        </p:nvGrpSpPr>
        <p:grpSpPr>
          <a:xfrm>
            <a:off x="8273908" y="155559"/>
            <a:ext cx="480322" cy="480322"/>
            <a:chOff x="8291119" y="101204"/>
            <a:chExt cx="321235" cy="321235"/>
          </a:xfrm>
        </p:grpSpPr>
        <p:sp>
          <p:nvSpPr>
            <p:cNvPr id="18" name="Oval 17"/>
            <p:cNvSpPr/>
            <p:nvPr/>
          </p:nvSpPr>
          <p:spPr>
            <a:xfrm>
              <a:off x="8291119" y="101204"/>
              <a:ext cx="321235" cy="321235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6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58943" y="164191"/>
              <a:ext cx="193275" cy="2193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414693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/>
          <p:cNvSpPr txBox="1"/>
          <p:nvPr/>
        </p:nvSpPr>
        <p:spPr>
          <a:xfrm>
            <a:off x="5214282" y="3981274"/>
            <a:ext cx="395935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4800">
                <a:solidFill>
                  <a:schemeClr val="tx2">
                    <a:lumMod val="20000"/>
                    <a:lumOff val="80000"/>
                    <a:alpha val="40000"/>
                  </a:schemeClr>
                </a:solidFill>
                <a:latin typeface="Avenir Black"/>
                <a:cs typeface="Avenir Black"/>
              </a:defRPr>
            </a:lvl1pPr>
          </a:lstStyle>
          <a:p>
            <a:r>
              <a:rPr lang="en-US" sz="3200" dirty="0"/>
              <a:t>Server-side Event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11832" y="1085424"/>
            <a:ext cx="418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4800">
                <a:solidFill>
                  <a:schemeClr val="tx2">
                    <a:lumMod val="20000"/>
                    <a:lumOff val="80000"/>
                    <a:alpha val="40000"/>
                  </a:schemeClr>
                </a:solidFill>
                <a:latin typeface="Avenir Black"/>
                <a:cs typeface="Avenir Black"/>
              </a:defRPr>
            </a:lvl1pPr>
          </a:lstStyle>
          <a:p>
            <a:r>
              <a:rPr lang="en-US" dirty="0"/>
              <a:t>Reactive API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0" y="3873958"/>
            <a:ext cx="418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 smtClean="0">
                <a:solidFill>
                  <a:schemeClr val="tx2">
                    <a:lumMod val="20000"/>
                    <a:lumOff val="80000"/>
                    <a:alpha val="40000"/>
                  </a:schemeClr>
                </a:solidFill>
                <a:latin typeface="Avenir Black"/>
                <a:cs typeface="Avenir Black"/>
              </a:rPr>
              <a:t>WebSockets</a:t>
            </a:r>
            <a:endParaRPr lang="en-US" sz="4800" dirty="0">
              <a:solidFill>
                <a:schemeClr val="tx2">
                  <a:lumMod val="20000"/>
                  <a:lumOff val="80000"/>
                  <a:alpha val="40000"/>
                </a:schemeClr>
              </a:solidFill>
              <a:latin typeface="Avenir Black"/>
              <a:cs typeface="Avenir Black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7143" y="1970079"/>
            <a:ext cx="18050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4800">
                <a:solidFill>
                  <a:schemeClr val="tx2">
                    <a:lumMod val="20000"/>
                    <a:lumOff val="80000"/>
                    <a:alpha val="40000"/>
                  </a:schemeClr>
                </a:solidFill>
                <a:latin typeface="Avenir Black"/>
                <a:cs typeface="Avenir Black"/>
              </a:defRPr>
            </a:lvl1pPr>
          </a:lstStyle>
          <a:p>
            <a:r>
              <a:rPr lang="en-US" dirty="0"/>
              <a:t>RES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 Component - API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0" y="662443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smtClean="0">
                <a:solidFill>
                  <a:srgbClr val="CC0000"/>
                </a:solidFill>
                <a:latin typeface="Avenir Next Italic"/>
                <a:cs typeface="Avenir Next Italic"/>
              </a:rPr>
              <a:t>Easy to use APIs accelerate application development, and enable opportunities to create new types of applications that were previously unattainable.</a:t>
            </a:r>
            <a:endParaRPr lang="en-US" sz="1400" i="1" dirty="0">
              <a:solidFill>
                <a:srgbClr val="CC0000"/>
              </a:solidFill>
              <a:latin typeface="Avenir Next Italic"/>
              <a:cs typeface="Avenir Next Italic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150946" y="1352361"/>
            <a:ext cx="7823120" cy="3179153"/>
            <a:chOff x="1150946" y="1352361"/>
            <a:chExt cx="7823120" cy="3179153"/>
          </a:xfrm>
        </p:grpSpPr>
        <p:grpSp>
          <p:nvGrpSpPr>
            <p:cNvPr id="34" name="Group 33"/>
            <p:cNvGrpSpPr/>
            <p:nvPr/>
          </p:nvGrpSpPr>
          <p:grpSpPr>
            <a:xfrm>
              <a:off x="1150946" y="1352361"/>
              <a:ext cx="6711447" cy="3179153"/>
              <a:chOff x="388628" y="1053415"/>
              <a:chExt cx="8799319" cy="4071870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2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42765" y="2254242"/>
                <a:ext cx="2503983" cy="1502389"/>
              </a:xfrm>
              <a:prstGeom prst="rect">
                <a:avLst/>
              </a:prstGeom>
            </p:spPr>
          </p:pic>
          <p:sp>
            <p:nvSpPr>
              <p:cNvPr id="8" name="Up-Down Arrow 7"/>
              <p:cNvSpPr/>
              <p:nvPr/>
            </p:nvSpPr>
            <p:spPr bwMode="auto">
              <a:xfrm rot="14197734">
                <a:off x="6264966" y="1503576"/>
                <a:ext cx="276481" cy="873286"/>
              </a:xfrm>
              <a:prstGeom prst="upDownArrow">
                <a:avLst/>
              </a:prstGeom>
              <a:solidFill>
                <a:schemeClr val="bg1">
                  <a:lumMod val="75000"/>
                </a:schemeClr>
              </a:solidFill>
              <a:ln w="38100" cmpd="sng"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lnSpc>
                    <a:spcPct val="80000"/>
                  </a:lnSpc>
                </a:pPr>
                <a:endParaRPr lang="en-US" sz="1100" b="1" dirty="0">
                  <a:solidFill>
                    <a:schemeClr val="bg1"/>
                  </a:solidFill>
                  <a:latin typeface="Avenir Black"/>
                  <a:cs typeface="Avenir Black"/>
                </a:endParaRPr>
              </a:p>
            </p:txBody>
          </p:sp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7239" y="1245217"/>
                <a:ext cx="695002" cy="695002"/>
              </a:xfrm>
              <a:prstGeom prst="rect">
                <a:avLst/>
              </a:prstGeom>
            </p:spPr>
          </p:pic>
          <p:sp>
            <p:nvSpPr>
              <p:cNvPr id="10" name="TextBox 9"/>
              <p:cNvSpPr txBox="1"/>
              <p:nvPr/>
            </p:nvSpPr>
            <p:spPr>
              <a:xfrm>
                <a:off x="427240" y="2884768"/>
                <a:ext cx="1417078" cy="443458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 w="38100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dirty="0" smtClean="0">
                    <a:solidFill>
                      <a:schemeClr val="bg1"/>
                    </a:solidFill>
                    <a:latin typeface="Avenir Black"/>
                  </a:rPr>
                  <a:t>Public APIs</a:t>
                </a:r>
                <a:endParaRPr lang="en-US" sz="1000" dirty="0">
                  <a:solidFill>
                    <a:schemeClr val="bg1"/>
                  </a:solidFill>
                  <a:latin typeface="Avenir Black"/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3303531" y="3740678"/>
                <a:ext cx="2524974" cy="5913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 smtClean="0">
                    <a:solidFill>
                      <a:srgbClr val="C91C15"/>
                    </a:solidFill>
                    <a:latin typeface="Avenir Black"/>
                    <a:cs typeface="Avenir Black"/>
                  </a:rPr>
                  <a:t>Single Page UI Application</a:t>
                </a:r>
                <a:endParaRPr lang="en-US" sz="1200" dirty="0">
                  <a:solidFill>
                    <a:srgbClr val="C91C15"/>
                  </a:solidFill>
                  <a:latin typeface="Avenir Black"/>
                  <a:cs typeface="Avenir Black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2767292" y="1383364"/>
                <a:ext cx="3566775" cy="3566775"/>
              </a:xfrm>
              <a:prstGeom prst="ellipse">
                <a:avLst/>
              </a:prstGeom>
              <a:noFill/>
              <a:ln w="38100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13" name="Up-Down Arrow 12"/>
              <p:cNvSpPr/>
              <p:nvPr/>
            </p:nvSpPr>
            <p:spPr bwMode="auto">
              <a:xfrm rot="17977781">
                <a:off x="6322772" y="3913710"/>
                <a:ext cx="276481" cy="873286"/>
              </a:xfrm>
              <a:prstGeom prst="upDownArrow">
                <a:avLst/>
              </a:prstGeom>
              <a:solidFill>
                <a:schemeClr val="bg1">
                  <a:lumMod val="85000"/>
                </a:schemeClr>
              </a:solidFill>
              <a:ln w="38100" cmpd="sng"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lnSpc>
                    <a:spcPct val="80000"/>
                  </a:lnSpc>
                </a:pPr>
                <a:endParaRPr lang="en-US" sz="1100" b="1" dirty="0">
                  <a:ln>
                    <a:solidFill>
                      <a:sysClr val="windowText" lastClr="000000"/>
                    </a:solidFill>
                  </a:ln>
                  <a:solidFill>
                    <a:schemeClr val="bg1"/>
                  </a:solidFill>
                  <a:latin typeface="Avenir Black"/>
                  <a:cs typeface="Avenir Black"/>
                </a:endParaRPr>
              </a:p>
            </p:txBody>
          </p:sp>
          <p:sp>
            <p:nvSpPr>
              <p:cNvPr id="14" name="Up-Down Arrow 13"/>
              <p:cNvSpPr/>
              <p:nvPr/>
            </p:nvSpPr>
            <p:spPr bwMode="auto">
              <a:xfrm rot="16200000">
                <a:off x="6632470" y="2740425"/>
                <a:ext cx="276481" cy="873286"/>
              </a:xfrm>
              <a:prstGeom prst="upDownArrow">
                <a:avLst/>
              </a:prstGeom>
              <a:solidFill>
                <a:schemeClr val="bg1">
                  <a:lumMod val="85000"/>
                </a:schemeClr>
              </a:solidFill>
              <a:ln w="38100" cmpd="sng"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lnSpc>
                    <a:spcPct val="80000"/>
                  </a:lnSpc>
                </a:pPr>
                <a:endParaRPr lang="en-US" sz="1100" b="1" dirty="0">
                  <a:ln>
                    <a:solidFill>
                      <a:sysClr val="windowText" lastClr="000000"/>
                    </a:solidFill>
                  </a:ln>
                  <a:solidFill>
                    <a:schemeClr val="bg1"/>
                  </a:solidFill>
                  <a:latin typeface="Avenir Black"/>
                  <a:cs typeface="Avenir Black"/>
                </a:endParaRPr>
              </a:p>
            </p:txBody>
          </p:sp>
          <p:sp>
            <p:nvSpPr>
              <p:cNvPr id="15" name="Up-Down Arrow 14"/>
              <p:cNvSpPr/>
              <p:nvPr/>
            </p:nvSpPr>
            <p:spPr bwMode="auto">
              <a:xfrm rot="7402266" flipH="1">
                <a:off x="2529586" y="1545785"/>
                <a:ext cx="276481" cy="873286"/>
              </a:xfrm>
              <a:prstGeom prst="upDownArrow">
                <a:avLst/>
              </a:prstGeom>
              <a:solidFill>
                <a:schemeClr val="bg1">
                  <a:lumMod val="85000"/>
                </a:schemeClr>
              </a:solidFill>
              <a:ln w="38100" cmpd="sng"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lnSpc>
                    <a:spcPct val="80000"/>
                  </a:lnSpc>
                </a:pPr>
                <a:endParaRPr lang="en-US" sz="1100" b="1" dirty="0">
                  <a:ln>
                    <a:solidFill>
                      <a:sysClr val="windowText" lastClr="000000"/>
                    </a:solidFill>
                  </a:ln>
                  <a:solidFill>
                    <a:schemeClr val="bg1"/>
                  </a:solidFill>
                  <a:latin typeface="Avenir Black"/>
                  <a:cs typeface="Avenir Black"/>
                </a:endParaRPr>
              </a:p>
            </p:txBody>
          </p:sp>
          <p:sp>
            <p:nvSpPr>
              <p:cNvPr id="16" name="Up-Down Arrow 15"/>
              <p:cNvSpPr/>
              <p:nvPr/>
            </p:nvSpPr>
            <p:spPr bwMode="auto">
              <a:xfrm rot="3622219" flipH="1">
                <a:off x="2469147" y="3837674"/>
                <a:ext cx="276481" cy="873286"/>
              </a:xfrm>
              <a:prstGeom prst="upDownArrow">
                <a:avLst/>
              </a:prstGeom>
              <a:solidFill>
                <a:schemeClr val="bg1">
                  <a:lumMod val="85000"/>
                </a:schemeClr>
              </a:solidFill>
              <a:ln w="38100" cmpd="sng"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lnSpc>
                    <a:spcPct val="80000"/>
                  </a:lnSpc>
                </a:pPr>
                <a:endParaRPr lang="en-US" sz="1100" b="1" dirty="0">
                  <a:ln>
                    <a:solidFill>
                      <a:sysClr val="windowText" lastClr="000000"/>
                    </a:solidFill>
                  </a:ln>
                  <a:solidFill>
                    <a:schemeClr val="bg1"/>
                  </a:solidFill>
                  <a:latin typeface="Avenir Black"/>
                  <a:cs typeface="Avenir Black"/>
                </a:endParaRPr>
              </a:p>
            </p:txBody>
          </p:sp>
          <p:sp>
            <p:nvSpPr>
              <p:cNvPr id="17" name="Up-Down Arrow 16"/>
              <p:cNvSpPr/>
              <p:nvPr/>
            </p:nvSpPr>
            <p:spPr bwMode="auto">
              <a:xfrm rot="5400000" flipH="1">
                <a:off x="2187620" y="2664389"/>
                <a:ext cx="276481" cy="873286"/>
              </a:xfrm>
              <a:prstGeom prst="upDownArrow">
                <a:avLst/>
              </a:prstGeom>
              <a:solidFill>
                <a:schemeClr val="bg1">
                  <a:lumMod val="85000"/>
                </a:schemeClr>
              </a:solidFill>
              <a:ln w="38100" cmpd="sng"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lnSpc>
                    <a:spcPct val="80000"/>
                  </a:lnSpc>
                </a:pPr>
                <a:endParaRPr lang="en-US" sz="1100" b="1" dirty="0">
                  <a:ln>
                    <a:solidFill>
                      <a:sysClr val="windowText" lastClr="000000"/>
                    </a:solidFill>
                  </a:ln>
                  <a:solidFill>
                    <a:schemeClr val="bg1"/>
                  </a:solidFill>
                  <a:latin typeface="Avenir Black"/>
                  <a:cs typeface="Avenir Black"/>
                </a:endParaRPr>
              </a:p>
            </p:txBody>
          </p:sp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4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84076" y="1985485"/>
                <a:ext cx="705141" cy="705141"/>
              </a:xfrm>
              <a:prstGeom prst="rect">
                <a:avLst/>
              </a:prstGeom>
            </p:spPr>
          </p:pic>
          <p:pic>
            <p:nvPicPr>
              <p:cNvPr id="19" name="Picture 18"/>
              <p:cNvPicPr>
                <a:picLocks noChangeAspect="1"/>
              </p:cNvPicPr>
              <p:nvPr/>
            </p:nvPicPr>
            <p:blipFill rotWithShape="1">
              <a:blip r:embed="rId5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88628" y="3457061"/>
                <a:ext cx="661202" cy="652947"/>
              </a:xfrm>
              <a:prstGeom prst="rect">
                <a:avLst/>
              </a:prstGeom>
            </p:spPr>
          </p:pic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15072" y="4505626"/>
                <a:ext cx="563653" cy="563653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847288" y="2493783"/>
                <a:ext cx="12700" cy="12700"/>
              </a:xfrm>
              <a:prstGeom prst="rect">
                <a:avLst/>
              </a:prstGeom>
            </p:spPr>
          </p:pic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847288" y="2493783"/>
                <a:ext cx="12700" cy="12700"/>
              </a:xfrm>
              <a:prstGeom prst="rect">
                <a:avLst/>
              </a:prstGeom>
            </p:spPr>
          </p:pic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847288" y="2493783"/>
                <a:ext cx="12700" cy="12700"/>
              </a:xfrm>
              <a:prstGeom prst="rect">
                <a:avLst/>
              </a:prstGeom>
            </p:spPr>
          </p:pic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847288" y="2493783"/>
                <a:ext cx="12700" cy="12700"/>
              </a:xfrm>
              <a:prstGeom prst="rect">
                <a:avLst/>
              </a:prstGeom>
            </p:spPr>
          </p:pic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847288" y="2493783"/>
                <a:ext cx="12700" cy="12700"/>
              </a:xfrm>
              <a:prstGeom prst="rect">
                <a:avLst/>
              </a:prstGeom>
            </p:spPr>
          </p:pic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8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52309" y="1053415"/>
                <a:ext cx="774825" cy="454846"/>
              </a:xfrm>
              <a:prstGeom prst="rect">
                <a:avLst/>
              </a:prstGeom>
            </p:spPr>
          </p:pic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21702" y="3529238"/>
                <a:ext cx="580770" cy="580770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10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69813" y="2128640"/>
                <a:ext cx="1018134" cy="528647"/>
              </a:xfrm>
              <a:prstGeom prst="rect">
                <a:avLst/>
              </a:prstGeom>
            </p:spPr>
          </p:pic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11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67596" y="3593475"/>
                <a:ext cx="689610" cy="689610"/>
              </a:xfrm>
              <a:prstGeom prst="rect">
                <a:avLst/>
              </a:prstGeom>
            </p:spPr>
          </p:pic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12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43665" y="4669297"/>
                <a:ext cx="1018374" cy="455988"/>
              </a:xfrm>
              <a:prstGeom prst="rect">
                <a:avLst/>
              </a:prstGeom>
            </p:spPr>
          </p:pic>
          <p:sp>
            <p:nvSpPr>
              <p:cNvPr id="32" name="TextBox 31"/>
              <p:cNvSpPr txBox="1"/>
              <p:nvPr/>
            </p:nvSpPr>
            <p:spPr>
              <a:xfrm>
                <a:off x="7236744" y="2959773"/>
                <a:ext cx="1417078" cy="415741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 w="38100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  <a:latin typeface="Avenir Black"/>
                  </a:rPr>
                  <a:t>Private APIs</a:t>
                </a:r>
                <a:endParaRPr lang="en-US" sz="900" dirty="0">
                  <a:solidFill>
                    <a:schemeClr val="bg1"/>
                  </a:solidFill>
                  <a:latin typeface="Avenir Black"/>
                </a:endParaRPr>
              </a:p>
            </p:txBody>
          </p:sp>
          <p:pic>
            <p:nvPicPr>
              <p:cNvPr id="33" name="Picture 32"/>
              <p:cNvPicPr>
                <a:picLocks noChangeAspect="1"/>
              </p:cNvPicPr>
              <p:nvPr/>
            </p:nvPicPr>
            <p:blipFill rotWithShape="1">
              <a:blip r:embed="rId13" cstate="email">
                <a:clrChange>
                  <a:clrFrom>
                    <a:srgbClr val="FDFFFB"/>
                  </a:clrFrom>
                  <a:clrTo>
                    <a:srgbClr val="FDFFFB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843899" y="1234033"/>
                <a:ext cx="1545134" cy="546689"/>
              </a:xfrm>
              <a:prstGeom prst="rect">
                <a:avLst/>
              </a:prstGeom>
            </p:spPr>
          </p:pic>
        </p:grp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55004" y="3263775"/>
              <a:ext cx="991315" cy="689732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8072" y="2692574"/>
              <a:ext cx="1335994" cy="455971"/>
            </a:xfrm>
            <a:prstGeom prst="rect">
              <a:avLst/>
            </a:prstGeom>
          </p:spPr>
        </p:pic>
      </p:grpSp>
      <p:grpSp>
        <p:nvGrpSpPr>
          <p:cNvPr id="41" name="Group 40"/>
          <p:cNvGrpSpPr/>
          <p:nvPr/>
        </p:nvGrpSpPr>
        <p:grpSpPr>
          <a:xfrm>
            <a:off x="8273908" y="155559"/>
            <a:ext cx="480322" cy="480322"/>
            <a:chOff x="8291119" y="101204"/>
            <a:chExt cx="321235" cy="321235"/>
          </a:xfrm>
        </p:grpSpPr>
        <p:sp>
          <p:nvSpPr>
            <p:cNvPr id="42" name="Oval 41"/>
            <p:cNvSpPr/>
            <p:nvPr/>
          </p:nvSpPr>
          <p:spPr>
            <a:xfrm>
              <a:off x="8291119" y="101204"/>
              <a:ext cx="321235" cy="321235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3" name="Picture 42"/>
            <p:cNvPicPr>
              <a:picLocks noChangeAspect="1"/>
            </p:cNvPicPr>
            <p:nvPr/>
          </p:nvPicPr>
          <p:blipFill rotWithShape="1">
            <a:blip r:embed="rId16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58943" y="164191"/>
              <a:ext cx="193275" cy="219360"/>
            </a:xfrm>
            <a:prstGeom prst="rect">
              <a:avLst/>
            </a:prstGeom>
          </p:spPr>
        </p:pic>
      </p:grpSp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9154" y="1668172"/>
            <a:ext cx="1288755" cy="355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8489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E46C09"/>
                </a:solidFill>
              </a:rPr>
              <a:t>Client/API Architecture – Web Client / Hybrid Mobile </a:t>
            </a:r>
            <a:endParaRPr lang="en-US" dirty="0">
              <a:solidFill>
                <a:srgbClr val="E46C0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smtClean="0">
                <a:latin typeface="Arial"/>
                <a:cs typeface="Arial"/>
              </a:rPr>
              <a:t>Confidential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>
                <a:latin typeface="Arial"/>
                <a:cs typeface="Arial"/>
              </a:rPr>
              <a:pPr defTabSz="914400"/>
              <a:t>8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6" name="Rounded Rectangle 78"/>
          <p:cNvSpPr/>
          <p:nvPr/>
        </p:nvSpPr>
        <p:spPr>
          <a:xfrm>
            <a:off x="1195545" y="1224310"/>
            <a:ext cx="3133727" cy="3411746"/>
          </a:xfrm>
          <a:custGeom>
            <a:avLst/>
            <a:gdLst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044321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420747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420747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577282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3999149"/>
              <a:gd name="connsiteY0" fmla="*/ 503055 h 3653200"/>
              <a:gd name="connsiteX1" fmla="*/ 444255 w 3999149"/>
              <a:gd name="connsiteY1" fmla="*/ 0 h 3653200"/>
              <a:gd name="connsiteX2" fmla="*/ 3577282 w 3999149"/>
              <a:gd name="connsiteY2" fmla="*/ 0 h 3653200"/>
              <a:gd name="connsiteX3" fmla="*/ 3998018 w 3999149"/>
              <a:gd name="connsiteY3" fmla="*/ 538330 h 3653200"/>
              <a:gd name="connsiteX4" fmla="*/ 3998018 w 3999149"/>
              <a:gd name="connsiteY4" fmla="*/ 3138387 h 3653200"/>
              <a:gd name="connsiteX5" fmla="*/ 3647835 w 3999149"/>
              <a:gd name="connsiteY5" fmla="*/ 3653200 h 3653200"/>
              <a:gd name="connsiteX6" fmla="*/ 479531 w 3999149"/>
              <a:gd name="connsiteY6" fmla="*/ 3653200 h 3653200"/>
              <a:gd name="connsiteX7" fmla="*/ 0 w 3999149"/>
              <a:gd name="connsiteY7" fmla="*/ 3220695 h 3653200"/>
              <a:gd name="connsiteX8" fmla="*/ 0 w 3999149"/>
              <a:gd name="connsiteY8" fmla="*/ 503055 h 365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9149" h="3653200">
                <a:moveTo>
                  <a:pt x="0" y="503055"/>
                </a:moveTo>
                <a:cubicBezTo>
                  <a:pt x="0" y="166780"/>
                  <a:pt x="107980" y="0"/>
                  <a:pt x="444255" y="0"/>
                </a:cubicBezTo>
                <a:lnTo>
                  <a:pt x="3577282" y="0"/>
                </a:lnTo>
                <a:cubicBezTo>
                  <a:pt x="3913557" y="0"/>
                  <a:pt x="3998018" y="202055"/>
                  <a:pt x="3998018" y="538330"/>
                </a:cubicBezTo>
                <a:cubicBezTo>
                  <a:pt x="3994098" y="1381499"/>
                  <a:pt x="4001938" y="2295218"/>
                  <a:pt x="3998018" y="3138387"/>
                </a:cubicBezTo>
                <a:cubicBezTo>
                  <a:pt x="3998018" y="3474662"/>
                  <a:pt x="3984110" y="3653200"/>
                  <a:pt x="3647835" y="3653200"/>
                </a:cubicBezTo>
                <a:lnTo>
                  <a:pt x="479531" y="3653200"/>
                </a:lnTo>
                <a:cubicBezTo>
                  <a:pt x="143256" y="3653200"/>
                  <a:pt x="0" y="3556970"/>
                  <a:pt x="0" y="3220695"/>
                </a:cubicBezTo>
                <a:lnTo>
                  <a:pt x="0" y="503055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  <a:gs pos="21000">
                <a:schemeClr val="bg1">
                  <a:lumMod val="85000"/>
                </a:schemeClr>
              </a:gs>
            </a:gsLst>
            <a:lin ang="16200000" scaled="0"/>
          </a:gra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Avenir Black"/>
                <a:cs typeface="Avenir Black"/>
              </a:rPr>
              <a:t>   Web Server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196809" y="1234369"/>
            <a:ext cx="4346454" cy="3411746"/>
            <a:chOff x="1196809" y="1234369"/>
            <a:chExt cx="4346454" cy="3411746"/>
          </a:xfrm>
        </p:grpSpPr>
        <p:grpSp>
          <p:nvGrpSpPr>
            <p:cNvPr id="8" name="Group 7"/>
            <p:cNvGrpSpPr/>
            <p:nvPr/>
          </p:nvGrpSpPr>
          <p:grpSpPr>
            <a:xfrm>
              <a:off x="1196809" y="1234369"/>
              <a:ext cx="4346454" cy="3411746"/>
              <a:chOff x="301621" y="1903391"/>
              <a:chExt cx="5380481" cy="4223404"/>
            </a:xfrm>
          </p:grpSpPr>
          <p:sp>
            <p:nvSpPr>
              <p:cNvPr id="11" name="Rounded Rectangle 78"/>
              <p:cNvSpPr/>
              <p:nvPr/>
            </p:nvSpPr>
            <p:spPr>
              <a:xfrm>
                <a:off x="301621" y="1903391"/>
                <a:ext cx="3879245" cy="4223404"/>
              </a:xfrm>
              <a:custGeom>
                <a:avLst/>
                <a:gdLst>
                  <a:gd name="connsiteX0" fmla="*/ 0 w 4009777"/>
                  <a:gd name="connsiteY0" fmla="*/ 608879 h 3653200"/>
                  <a:gd name="connsiteX1" fmla="*/ 608879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4009777 w 4009777"/>
                  <a:gd name="connsiteY4" fmla="*/ 3044321 h 3653200"/>
                  <a:gd name="connsiteX5" fmla="*/ 3400898 w 4009777"/>
                  <a:gd name="connsiteY5" fmla="*/ 3653200 h 3653200"/>
                  <a:gd name="connsiteX6" fmla="*/ 608879 w 4009777"/>
                  <a:gd name="connsiteY6" fmla="*/ 3653200 h 3653200"/>
                  <a:gd name="connsiteX7" fmla="*/ 0 w 4009777"/>
                  <a:gd name="connsiteY7" fmla="*/ 3044321 h 3653200"/>
                  <a:gd name="connsiteX8" fmla="*/ 0 w 4009777"/>
                  <a:gd name="connsiteY8" fmla="*/ 608879 h 3653200"/>
                  <a:gd name="connsiteX0" fmla="*/ 0 w 4009777"/>
                  <a:gd name="connsiteY0" fmla="*/ 608879 h 3653200"/>
                  <a:gd name="connsiteX1" fmla="*/ 608879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4009777 w 4009777"/>
                  <a:gd name="connsiteY4" fmla="*/ 3044321 h 3653200"/>
                  <a:gd name="connsiteX5" fmla="*/ 3400898 w 4009777"/>
                  <a:gd name="connsiteY5" fmla="*/ 3653200 h 3653200"/>
                  <a:gd name="connsiteX6" fmla="*/ 608879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608879 h 3653200"/>
                  <a:gd name="connsiteX0" fmla="*/ 0 w 4009777"/>
                  <a:gd name="connsiteY0" fmla="*/ 608879 h 3653200"/>
                  <a:gd name="connsiteX1" fmla="*/ 608879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3998018 w 4009777"/>
                  <a:gd name="connsiteY4" fmla="*/ 3138387 h 3653200"/>
                  <a:gd name="connsiteX5" fmla="*/ 3400898 w 4009777"/>
                  <a:gd name="connsiteY5" fmla="*/ 3653200 h 3653200"/>
                  <a:gd name="connsiteX6" fmla="*/ 608879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608879 h 3653200"/>
                  <a:gd name="connsiteX0" fmla="*/ 0 w 4009777"/>
                  <a:gd name="connsiteY0" fmla="*/ 608879 h 3653200"/>
                  <a:gd name="connsiteX1" fmla="*/ 608879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3998018 w 4009777"/>
                  <a:gd name="connsiteY4" fmla="*/ 3138387 h 3653200"/>
                  <a:gd name="connsiteX5" fmla="*/ 3647835 w 4009777"/>
                  <a:gd name="connsiteY5" fmla="*/ 3653200 h 3653200"/>
                  <a:gd name="connsiteX6" fmla="*/ 608879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608879 h 3653200"/>
                  <a:gd name="connsiteX0" fmla="*/ 0 w 4009777"/>
                  <a:gd name="connsiteY0" fmla="*/ 608879 h 3653200"/>
                  <a:gd name="connsiteX1" fmla="*/ 608879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3998018 w 4009777"/>
                  <a:gd name="connsiteY4" fmla="*/ 3138387 h 3653200"/>
                  <a:gd name="connsiteX5" fmla="*/ 3647835 w 4009777"/>
                  <a:gd name="connsiteY5" fmla="*/ 3653200 h 3653200"/>
                  <a:gd name="connsiteX6" fmla="*/ 479531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608879 h 3653200"/>
                  <a:gd name="connsiteX0" fmla="*/ 0 w 4009777"/>
                  <a:gd name="connsiteY0" fmla="*/ 608879 h 3653200"/>
                  <a:gd name="connsiteX1" fmla="*/ 444255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3998018 w 4009777"/>
                  <a:gd name="connsiteY4" fmla="*/ 3138387 h 3653200"/>
                  <a:gd name="connsiteX5" fmla="*/ 3647835 w 4009777"/>
                  <a:gd name="connsiteY5" fmla="*/ 3653200 h 3653200"/>
                  <a:gd name="connsiteX6" fmla="*/ 479531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608879 h 3653200"/>
                  <a:gd name="connsiteX0" fmla="*/ 0 w 4009777"/>
                  <a:gd name="connsiteY0" fmla="*/ 420747 h 3653200"/>
                  <a:gd name="connsiteX1" fmla="*/ 444255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3998018 w 4009777"/>
                  <a:gd name="connsiteY4" fmla="*/ 3138387 h 3653200"/>
                  <a:gd name="connsiteX5" fmla="*/ 3647835 w 4009777"/>
                  <a:gd name="connsiteY5" fmla="*/ 3653200 h 3653200"/>
                  <a:gd name="connsiteX6" fmla="*/ 479531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420747 h 3653200"/>
                  <a:gd name="connsiteX0" fmla="*/ 0 w 4009777"/>
                  <a:gd name="connsiteY0" fmla="*/ 503055 h 3653200"/>
                  <a:gd name="connsiteX1" fmla="*/ 444255 w 4009777"/>
                  <a:gd name="connsiteY1" fmla="*/ 0 h 3653200"/>
                  <a:gd name="connsiteX2" fmla="*/ 3400898 w 4009777"/>
                  <a:gd name="connsiteY2" fmla="*/ 0 h 3653200"/>
                  <a:gd name="connsiteX3" fmla="*/ 4009777 w 4009777"/>
                  <a:gd name="connsiteY3" fmla="*/ 608879 h 3653200"/>
                  <a:gd name="connsiteX4" fmla="*/ 3998018 w 4009777"/>
                  <a:gd name="connsiteY4" fmla="*/ 3138387 h 3653200"/>
                  <a:gd name="connsiteX5" fmla="*/ 3647835 w 4009777"/>
                  <a:gd name="connsiteY5" fmla="*/ 3653200 h 3653200"/>
                  <a:gd name="connsiteX6" fmla="*/ 479531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503055 h 3653200"/>
                  <a:gd name="connsiteX0" fmla="*/ 0 w 4009777"/>
                  <a:gd name="connsiteY0" fmla="*/ 503055 h 3653200"/>
                  <a:gd name="connsiteX1" fmla="*/ 444255 w 4009777"/>
                  <a:gd name="connsiteY1" fmla="*/ 0 h 3653200"/>
                  <a:gd name="connsiteX2" fmla="*/ 3577282 w 4009777"/>
                  <a:gd name="connsiteY2" fmla="*/ 0 h 3653200"/>
                  <a:gd name="connsiteX3" fmla="*/ 4009777 w 4009777"/>
                  <a:gd name="connsiteY3" fmla="*/ 608879 h 3653200"/>
                  <a:gd name="connsiteX4" fmla="*/ 3998018 w 4009777"/>
                  <a:gd name="connsiteY4" fmla="*/ 3138387 h 3653200"/>
                  <a:gd name="connsiteX5" fmla="*/ 3647835 w 4009777"/>
                  <a:gd name="connsiteY5" fmla="*/ 3653200 h 3653200"/>
                  <a:gd name="connsiteX6" fmla="*/ 479531 w 4009777"/>
                  <a:gd name="connsiteY6" fmla="*/ 3653200 h 3653200"/>
                  <a:gd name="connsiteX7" fmla="*/ 0 w 4009777"/>
                  <a:gd name="connsiteY7" fmla="*/ 3220695 h 3653200"/>
                  <a:gd name="connsiteX8" fmla="*/ 0 w 4009777"/>
                  <a:gd name="connsiteY8" fmla="*/ 503055 h 3653200"/>
                  <a:gd name="connsiteX0" fmla="*/ 0 w 3999149"/>
                  <a:gd name="connsiteY0" fmla="*/ 503055 h 3653200"/>
                  <a:gd name="connsiteX1" fmla="*/ 444255 w 3999149"/>
                  <a:gd name="connsiteY1" fmla="*/ 0 h 3653200"/>
                  <a:gd name="connsiteX2" fmla="*/ 3577282 w 3999149"/>
                  <a:gd name="connsiteY2" fmla="*/ 0 h 3653200"/>
                  <a:gd name="connsiteX3" fmla="*/ 3998018 w 3999149"/>
                  <a:gd name="connsiteY3" fmla="*/ 538330 h 3653200"/>
                  <a:gd name="connsiteX4" fmla="*/ 3998018 w 3999149"/>
                  <a:gd name="connsiteY4" fmla="*/ 3138387 h 3653200"/>
                  <a:gd name="connsiteX5" fmla="*/ 3647835 w 3999149"/>
                  <a:gd name="connsiteY5" fmla="*/ 3653200 h 3653200"/>
                  <a:gd name="connsiteX6" fmla="*/ 479531 w 3999149"/>
                  <a:gd name="connsiteY6" fmla="*/ 3653200 h 3653200"/>
                  <a:gd name="connsiteX7" fmla="*/ 0 w 3999149"/>
                  <a:gd name="connsiteY7" fmla="*/ 3220695 h 3653200"/>
                  <a:gd name="connsiteX8" fmla="*/ 0 w 3999149"/>
                  <a:gd name="connsiteY8" fmla="*/ 503055 h 365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99149" h="3653200">
                    <a:moveTo>
                      <a:pt x="0" y="503055"/>
                    </a:moveTo>
                    <a:cubicBezTo>
                      <a:pt x="0" y="166780"/>
                      <a:pt x="107980" y="0"/>
                      <a:pt x="444255" y="0"/>
                    </a:cubicBezTo>
                    <a:lnTo>
                      <a:pt x="3577282" y="0"/>
                    </a:lnTo>
                    <a:cubicBezTo>
                      <a:pt x="3913557" y="0"/>
                      <a:pt x="3998018" y="202055"/>
                      <a:pt x="3998018" y="538330"/>
                    </a:cubicBezTo>
                    <a:cubicBezTo>
                      <a:pt x="3994098" y="1381499"/>
                      <a:pt x="4001938" y="2295218"/>
                      <a:pt x="3998018" y="3138387"/>
                    </a:cubicBezTo>
                    <a:cubicBezTo>
                      <a:pt x="3998018" y="3474662"/>
                      <a:pt x="3984110" y="3653200"/>
                      <a:pt x="3647835" y="3653200"/>
                    </a:cubicBezTo>
                    <a:lnTo>
                      <a:pt x="479531" y="3653200"/>
                    </a:lnTo>
                    <a:cubicBezTo>
                      <a:pt x="143256" y="3653200"/>
                      <a:pt x="0" y="3556970"/>
                      <a:pt x="0" y="3220695"/>
                    </a:cubicBezTo>
                    <a:lnTo>
                      <a:pt x="0" y="503055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100000">
                    <a:schemeClr val="accent2">
                      <a:lumMod val="20000"/>
                      <a:lumOff val="80000"/>
                    </a:schemeClr>
                  </a:gs>
                  <a:gs pos="21000">
                    <a:schemeClr val="accent2">
                      <a:lumMod val="40000"/>
                      <a:lumOff val="60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square" lIns="91440" tIns="9144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r>
                  <a:rPr lang="en-US" sz="1200" b="1" kern="0" dirty="0" smtClean="0">
                    <a:solidFill>
                      <a:srgbClr val="000000"/>
                    </a:solidFill>
                    <a:latin typeface="Avenir Black"/>
                    <a:cs typeface="Avenir Black"/>
                  </a:rPr>
                  <a:t>   App (iOS / Android)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4180866" y="5055557"/>
                <a:ext cx="1501236" cy="10286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i="1">
                    <a:solidFill>
                      <a:srgbClr val="CC0000"/>
                    </a:solidFill>
                    <a:latin typeface="Avenir Black"/>
                    <a:cs typeface="Avenir Black"/>
                  </a:defRPr>
                </a:lvl1pPr>
              </a:lstStyle>
              <a:p>
                <a:r>
                  <a:rPr lang="en-US" sz="1200" dirty="0"/>
                  <a:t>Same code, multiple deployment paths</a:t>
                </a:r>
              </a:p>
            </p:txBody>
          </p:sp>
          <p:sp>
            <p:nvSpPr>
              <p:cNvPr id="13" name="Down Arrow 12"/>
              <p:cNvSpPr/>
              <p:nvPr/>
            </p:nvSpPr>
            <p:spPr bwMode="auto">
              <a:xfrm rot="18174653" flipV="1">
                <a:off x="4463516" y="4503657"/>
                <a:ext cx="191763" cy="734058"/>
              </a:xfrm>
              <a:prstGeom prst="downArrow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457200" eaLnBrk="0" fontAlgn="auto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b="1" kern="0" dirty="0" smtClean="0">
                  <a:solidFill>
                    <a:prstClr val="white"/>
                  </a:solidFill>
                  <a:latin typeface="Avenir Black"/>
                  <a:cs typeface="Avenir Black"/>
                </a:endParaRPr>
              </a:p>
            </p:txBody>
          </p:sp>
        </p:grpSp>
        <p:sp>
          <p:nvSpPr>
            <p:cNvPr id="9" name="Rounded Rectangle 8"/>
            <p:cNvSpPr/>
            <p:nvPr/>
          </p:nvSpPr>
          <p:spPr>
            <a:xfrm>
              <a:off x="1309949" y="3609386"/>
              <a:ext cx="2902859" cy="40886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>
                <a:lnSpc>
                  <a:spcPct val="70000"/>
                </a:lnSpc>
                <a:spcBef>
                  <a:spcPts val="400"/>
                </a:spcBef>
              </a:pPr>
              <a:r>
                <a:rPr lang="en-US" sz="1050" kern="0" dirty="0">
                  <a:solidFill>
                    <a:srgbClr val="000000"/>
                  </a:solidFill>
                  <a:latin typeface="Avenir Black"/>
                  <a:cs typeface="Avenir Black"/>
                </a:rPr>
                <a:t>Phonegap</a:t>
              </a: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1309949" y="4086933"/>
              <a:ext cx="2902859" cy="408862"/>
            </a:xfrm>
            <a:prstGeom prst="roundRect">
              <a:avLst/>
            </a:prstGeom>
            <a:solidFill>
              <a:srgbClr val="CC33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hangingPunct="0">
                <a:spcBef>
                  <a:spcPct val="20000"/>
                </a:spcBef>
                <a:buSzPct val="100000"/>
                <a:buFont typeface="Wingdings" pitchFamily="2" charset="2"/>
                <a:buNone/>
              </a:pPr>
              <a:r>
                <a:rPr lang="en-US" sz="1100" b="1" kern="0" dirty="0">
                  <a:solidFill>
                    <a:srgbClr val="FFFFFF"/>
                  </a:solidFill>
                  <a:latin typeface="Avenir Black"/>
                  <a:cs typeface="Avenir Black"/>
                </a:rPr>
                <a:t>Native OS</a:t>
              </a:r>
            </a:p>
          </p:txBody>
        </p:sp>
      </p:grpSp>
      <p:sp>
        <p:nvSpPr>
          <p:cNvPr id="14" name="Rounded Rectangle 13"/>
          <p:cNvSpPr/>
          <p:nvPr/>
        </p:nvSpPr>
        <p:spPr>
          <a:xfrm>
            <a:off x="1277175" y="1619712"/>
            <a:ext cx="2944046" cy="1913608"/>
          </a:xfrm>
          <a:prstGeom prst="roundRect">
            <a:avLst/>
          </a:prstGeom>
          <a:solidFill>
            <a:srgbClr val="CC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defRPr/>
            </a:pPr>
            <a:r>
              <a:rPr lang="en-US" sz="1200" b="1" kern="0" dirty="0" err="1" smtClean="0">
                <a:solidFill>
                  <a:prstClr val="white"/>
                </a:solidFill>
                <a:latin typeface="Avenir Black"/>
                <a:cs typeface="Avenir Black"/>
              </a:rPr>
              <a:t>UIWebView</a:t>
            </a:r>
            <a:r>
              <a:rPr lang="en-US" sz="12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 (Browser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5533205" y="1250378"/>
            <a:ext cx="0" cy="3385569"/>
          </a:xfrm>
          <a:prstGeom prst="line">
            <a:avLst/>
          </a:prstGeom>
          <a:noFill/>
          <a:ln w="25400" cap="flat" cmpd="sng" algn="ctr">
            <a:solidFill>
              <a:srgbClr val="CC0000"/>
            </a:solidFill>
            <a:prstDash val="dash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16" name="Group 15"/>
          <p:cNvGrpSpPr/>
          <p:nvPr/>
        </p:nvGrpSpPr>
        <p:grpSpPr>
          <a:xfrm rot="5400000">
            <a:off x="4846497" y="2429523"/>
            <a:ext cx="397705" cy="1292672"/>
            <a:chOff x="1871681" y="3726059"/>
            <a:chExt cx="518995" cy="1750981"/>
          </a:xfrm>
        </p:grpSpPr>
        <p:sp>
          <p:nvSpPr>
            <p:cNvPr id="17" name="Down Arrow 16"/>
            <p:cNvSpPr/>
            <p:nvPr/>
          </p:nvSpPr>
          <p:spPr bwMode="auto">
            <a:xfrm flipV="1">
              <a:off x="2146599" y="3726059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  <p:sp>
          <p:nvSpPr>
            <p:cNvPr id="18" name="Down Arrow 17"/>
            <p:cNvSpPr/>
            <p:nvPr/>
          </p:nvSpPr>
          <p:spPr bwMode="auto">
            <a:xfrm>
              <a:off x="1871681" y="3779028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</p:grpSp>
      <p:sp>
        <p:nvSpPr>
          <p:cNvPr id="19" name="Rounded Rectangle 18"/>
          <p:cNvSpPr/>
          <p:nvPr/>
        </p:nvSpPr>
        <p:spPr bwMode="auto">
          <a:xfrm>
            <a:off x="4358174" y="2737065"/>
            <a:ext cx="1253567" cy="162030"/>
          </a:xfrm>
          <a:prstGeom prst="round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black"/>
                </a:solidFill>
                <a:latin typeface="Avenir Black"/>
                <a:cs typeface="Avenir Black"/>
              </a:rPr>
              <a:t>REST, etc</a:t>
            </a:r>
            <a:endParaRPr lang="en-US" sz="1050" b="1" kern="0" dirty="0">
              <a:solidFill>
                <a:prstClr val="black"/>
              </a:solidFill>
              <a:latin typeface="Avenir Black"/>
              <a:cs typeface="Avenir Black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1522032" y="2115733"/>
            <a:ext cx="2546086" cy="616678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Client-side MV*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2827741" y="2805820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DOM Helper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1522031" y="2805820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UI Library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1522031" y="3126982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Templates</a:t>
            </a:r>
          </a:p>
        </p:txBody>
      </p:sp>
      <p:sp>
        <p:nvSpPr>
          <p:cNvPr id="24" name="Rounded Rectangle 23"/>
          <p:cNvSpPr/>
          <p:nvPr/>
        </p:nvSpPr>
        <p:spPr bwMode="auto">
          <a:xfrm>
            <a:off x="2827741" y="3126982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Other Helpers</a:t>
            </a:r>
          </a:p>
        </p:txBody>
      </p:sp>
      <p:sp>
        <p:nvSpPr>
          <p:cNvPr id="25" name="Rounded Rectangle 24"/>
          <p:cNvSpPr/>
          <p:nvPr/>
        </p:nvSpPr>
        <p:spPr bwMode="auto">
          <a:xfrm rot="5400000">
            <a:off x="6513476" y="1524677"/>
            <a:ext cx="965588" cy="416991"/>
          </a:xfrm>
          <a:prstGeom prst="roundRect">
            <a:avLst/>
          </a:prstGeom>
          <a:solidFill>
            <a:srgbClr val="CC33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1100" b="1" kern="0" dirty="0">
                <a:solidFill>
                  <a:srgbClr val="FFFFFF"/>
                </a:solidFill>
                <a:latin typeface="Avenir Black"/>
                <a:cs typeface="Avenir Black"/>
              </a:rPr>
              <a:t>CMS</a:t>
            </a:r>
          </a:p>
        </p:txBody>
      </p:sp>
      <p:sp>
        <p:nvSpPr>
          <p:cNvPr id="26" name="Rounded Rectangle 25"/>
          <p:cNvSpPr/>
          <p:nvPr/>
        </p:nvSpPr>
        <p:spPr bwMode="auto">
          <a:xfrm rot="5400000">
            <a:off x="4317419" y="2747755"/>
            <a:ext cx="3411746" cy="41699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API Layer</a:t>
            </a:r>
          </a:p>
        </p:txBody>
      </p:sp>
      <p:sp>
        <p:nvSpPr>
          <p:cNvPr id="27" name="Rounded Rectangle 26"/>
          <p:cNvSpPr/>
          <p:nvPr/>
        </p:nvSpPr>
        <p:spPr bwMode="auto">
          <a:xfrm rot="5400000">
            <a:off x="5805378" y="3262735"/>
            <a:ext cx="2381785" cy="416991"/>
          </a:xfrm>
          <a:prstGeom prst="roundRect">
            <a:avLst/>
          </a:prstGeom>
          <a:solidFill>
            <a:srgbClr val="CC33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lang="en-US" sz="1100" b="1" kern="0" dirty="0" smtClean="0">
                <a:solidFill>
                  <a:srgbClr val="FFFFFF"/>
                </a:solidFill>
                <a:latin typeface="Avenir Black"/>
                <a:cs typeface="Avenir Black"/>
              </a:rPr>
              <a:t>Enterprise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 Services</a:t>
            </a:r>
          </a:p>
        </p:txBody>
      </p:sp>
      <p:sp>
        <p:nvSpPr>
          <p:cNvPr id="28" name="Rounded Rectangle 27"/>
          <p:cNvSpPr/>
          <p:nvPr/>
        </p:nvSpPr>
        <p:spPr bwMode="auto">
          <a:xfrm rot="5400000">
            <a:off x="5915885" y="2608758"/>
            <a:ext cx="3411746" cy="694985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Black"/>
                <a:cs typeface="Avenir Black"/>
              </a:rPr>
              <a:t>Back End Systems of Record</a:t>
            </a:r>
          </a:p>
        </p:txBody>
      </p:sp>
      <p:sp>
        <p:nvSpPr>
          <p:cNvPr id="29" name="Rounded Rectangle 28"/>
          <p:cNvSpPr/>
          <p:nvPr/>
        </p:nvSpPr>
        <p:spPr bwMode="auto">
          <a:xfrm rot="5400000">
            <a:off x="4803909" y="2747755"/>
            <a:ext cx="3411746" cy="416991"/>
          </a:xfrm>
          <a:prstGeom prst="roundRect">
            <a:avLst/>
          </a:prstGeom>
          <a:solidFill>
            <a:srgbClr val="9A0E2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Security Authorization, Validation, and Enforcemen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606176"/>
            <a:ext cx="91580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i="1">
                <a:solidFill>
                  <a:srgbClr val="CC0000"/>
                </a:solidFill>
                <a:latin typeface="Avenir Black"/>
                <a:cs typeface="Avenir Black"/>
              </a:defRPr>
            </a:lvl1pPr>
          </a:lstStyle>
          <a:p>
            <a:r>
              <a:rPr lang="en-US" sz="1400" dirty="0">
                <a:solidFill>
                  <a:srgbClr val="E46C09"/>
                </a:solidFill>
                <a:latin typeface="Avenir Next Regular"/>
                <a:cs typeface="Avenir Next Regular"/>
              </a:rPr>
              <a:t>A modern cross-platform architecture </a:t>
            </a:r>
            <a:r>
              <a:rPr lang="en-US" sz="1400" dirty="0" smtClean="0">
                <a:solidFill>
                  <a:srgbClr val="E46C09"/>
                </a:solidFill>
                <a:latin typeface="Avenir Next Regular"/>
                <a:cs typeface="Avenir Next Regular"/>
              </a:rPr>
              <a:t>can decouple </a:t>
            </a:r>
            <a:r>
              <a:rPr lang="en-US" sz="1400" dirty="0">
                <a:solidFill>
                  <a:srgbClr val="E46C09"/>
                </a:solidFill>
                <a:latin typeface="Avenir Next Regular"/>
                <a:cs typeface="Avenir Next Regular"/>
              </a:rPr>
              <a:t>itself from the server completely, and only </a:t>
            </a:r>
            <a:r>
              <a:rPr lang="en-US" sz="1400" dirty="0" smtClean="0">
                <a:solidFill>
                  <a:srgbClr val="E46C09"/>
                </a:solidFill>
                <a:latin typeface="Avenir Next Regular"/>
                <a:cs typeface="Avenir Next Regular"/>
              </a:rPr>
              <a:t>rely </a:t>
            </a:r>
            <a:r>
              <a:rPr lang="en-US" sz="1400" dirty="0">
                <a:solidFill>
                  <a:srgbClr val="E46C09"/>
                </a:solidFill>
                <a:latin typeface="Avenir Next Regular"/>
                <a:cs typeface="Avenir Next Regular"/>
              </a:rPr>
              <a:t>on data from the server via an </a:t>
            </a:r>
            <a:r>
              <a:rPr lang="en-US" sz="1400" dirty="0" smtClean="0">
                <a:solidFill>
                  <a:srgbClr val="E46C09"/>
                </a:solidFill>
                <a:latin typeface="Avenir Next Regular"/>
                <a:cs typeface="Avenir Next Regular"/>
              </a:rPr>
              <a:t>API</a:t>
            </a:r>
            <a:endParaRPr lang="en-US" sz="1400" dirty="0">
              <a:solidFill>
                <a:srgbClr val="E46C09"/>
              </a:solidFill>
              <a:latin typeface="Avenir Next Regular"/>
              <a:cs typeface="Avenir Next Regular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8263610" y="111244"/>
            <a:ext cx="482832" cy="482832"/>
            <a:chOff x="5177116" y="3793065"/>
            <a:chExt cx="321235" cy="321235"/>
          </a:xfrm>
        </p:grpSpPr>
        <p:sp>
          <p:nvSpPr>
            <p:cNvPr id="32" name="Oval 31"/>
            <p:cNvSpPr/>
            <p:nvPr/>
          </p:nvSpPr>
          <p:spPr>
            <a:xfrm>
              <a:off x="5177116" y="3793065"/>
              <a:ext cx="321235" cy="321235"/>
            </a:xfrm>
            <a:prstGeom prst="ellipse">
              <a:avLst/>
            </a:prstGeom>
            <a:solidFill>
              <a:srgbClr val="E46C0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2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44355" y="3882718"/>
              <a:ext cx="200297" cy="1514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7903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999" y="101204"/>
            <a:ext cx="8944526" cy="504972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E46C09"/>
                </a:solidFill>
              </a:rPr>
              <a:t>Client/API Architecture – Client + Presentation APIs</a:t>
            </a:r>
            <a:endParaRPr lang="en-US" dirty="0">
              <a:solidFill>
                <a:srgbClr val="E46C0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400"/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400"/>
            <a:fld id="{FE3CF6C0-23A2-0245-B644-16D86A3C75FF}" type="slidenum">
              <a:rPr lang="en-US" smtClean="0"/>
              <a:pPr defTabSz="914400"/>
              <a:t>9</a:t>
            </a:fld>
            <a:endParaRPr lang="en-US"/>
          </a:p>
        </p:txBody>
      </p:sp>
      <p:sp>
        <p:nvSpPr>
          <p:cNvPr id="6" name="Rounded Rectangle 78"/>
          <p:cNvSpPr/>
          <p:nvPr/>
        </p:nvSpPr>
        <p:spPr>
          <a:xfrm>
            <a:off x="657525" y="1681602"/>
            <a:ext cx="3133727" cy="2458690"/>
          </a:xfrm>
          <a:custGeom>
            <a:avLst/>
            <a:gdLst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044321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4009777 w 4009777"/>
              <a:gd name="connsiteY4" fmla="*/ 3044321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400898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608879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608879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608879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608879 h 3653200"/>
              <a:gd name="connsiteX0" fmla="*/ 0 w 4009777"/>
              <a:gd name="connsiteY0" fmla="*/ 420747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420747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400898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4009777"/>
              <a:gd name="connsiteY0" fmla="*/ 503055 h 3653200"/>
              <a:gd name="connsiteX1" fmla="*/ 444255 w 4009777"/>
              <a:gd name="connsiteY1" fmla="*/ 0 h 3653200"/>
              <a:gd name="connsiteX2" fmla="*/ 3577282 w 4009777"/>
              <a:gd name="connsiteY2" fmla="*/ 0 h 3653200"/>
              <a:gd name="connsiteX3" fmla="*/ 4009777 w 4009777"/>
              <a:gd name="connsiteY3" fmla="*/ 608879 h 3653200"/>
              <a:gd name="connsiteX4" fmla="*/ 3998018 w 4009777"/>
              <a:gd name="connsiteY4" fmla="*/ 3138387 h 3653200"/>
              <a:gd name="connsiteX5" fmla="*/ 3647835 w 4009777"/>
              <a:gd name="connsiteY5" fmla="*/ 3653200 h 3653200"/>
              <a:gd name="connsiteX6" fmla="*/ 479531 w 4009777"/>
              <a:gd name="connsiteY6" fmla="*/ 3653200 h 3653200"/>
              <a:gd name="connsiteX7" fmla="*/ 0 w 4009777"/>
              <a:gd name="connsiteY7" fmla="*/ 3220695 h 3653200"/>
              <a:gd name="connsiteX8" fmla="*/ 0 w 4009777"/>
              <a:gd name="connsiteY8" fmla="*/ 503055 h 3653200"/>
              <a:gd name="connsiteX0" fmla="*/ 0 w 3999149"/>
              <a:gd name="connsiteY0" fmla="*/ 503055 h 3653200"/>
              <a:gd name="connsiteX1" fmla="*/ 444255 w 3999149"/>
              <a:gd name="connsiteY1" fmla="*/ 0 h 3653200"/>
              <a:gd name="connsiteX2" fmla="*/ 3577282 w 3999149"/>
              <a:gd name="connsiteY2" fmla="*/ 0 h 3653200"/>
              <a:gd name="connsiteX3" fmla="*/ 3998018 w 3999149"/>
              <a:gd name="connsiteY3" fmla="*/ 538330 h 3653200"/>
              <a:gd name="connsiteX4" fmla="*/ 3998018 w 3999149"/>
              <a:gd name="connsiteY4" fmla="*/ 3138387 h 3653200"/>
              <a:gd name="connsiteX5" fmla="*/ 3647835 w 3999149"/>
              <a:gd name="connsiteY5" fmla="*/ 3653200 h 3653200"/>
              <a:gd name="connsiteX6" fmla="*/ 479531 w 3999149"/>
              <a:gd name="connsiteY6" fmla="*/ 3653200 h 3653200"/>
              <a:gd name="connsiteX7" fmla="*/ 0 w 3999149"/>
              <a:gd name="connsiteY7" fmla="*/ 3220695 h 3653200"/>
              <a:gd name="connsiteX8" fmla="*/ 0 w 3999149"/>
              <a:gd name="connsiteY8" fmla="*/ 503055 h 365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9149" h="3653200">
                <a:moveTo>
                  <a:pt x="0" y="503055"/>
                </a:moveTo>
                <a:cubicBezTo>
                  <a:pt x="0" y="166780"/>
                  <a:pt x="107980" y="0"/>
                  <a:pt x="444255" y="0"/>
                </a:cubicBezTo>
                <a:lnTo>
                  <a:pt x="3577282" y="0"/>
                </a:lnTo>
                <a:cubicBezTo>
                  <a:pt x="3913557" y="0"/>
                  <a:pt x="3998018" y="202055"/>
                  <a:pt x="3998018" y="538330"/>
                </a:cubicBezTo>
                <a:cubicBezTo>
                  <a:pt x="3994098" y="1381499"/>
                  <a:pt x="4001938" y="2295218"/>
                  <a:pt x="3998018" y="3138387"/>
                </a:cubicBezTo>
                <a:cubicBezTo>
                  <a:pt x="3998018" y="3474662"/>
                  <a:pt x="3984110" y="3653200"/>
                  <a:pt x="3647835" y="3653200"/>
                </a:cubicBezTo>
                <a:lnTo>
                  <a:pt x="479531" y="3653200"/>
                </a:lnTo>
                <a:cubicBezTo>
                  <a:pt x="143256" y="3653200"/>
                  <a:pt x="0" y="3556970"/>
                  <a:pt x="0" y="3220695"/>
                </a:cubicBezTo>
                <a:lnTo>
                  <a:pt x="0" y="503055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  <a:gs pos="21000">
                <a:schemeClr val="bg1">
                  <a:lumMod val="85000"/>
                </a:schemeClr>
              </a:gs>
            </a:gsLst>
            <a:lin ang="16200000" scaled="0"/>
          </a:gra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Avenir Black"/>
                <a:cs typeface="Avenir Black"/>
              </a:rPr>
              <a:t>   Web Server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739155" y="2077004"/>
            <a:ext cx="2944046" cy="1913608"/>
          </a:xfrm>
          <a:prstGeom prst="roundRect">
            <a:avLst/>
          </a:prstGeom>
          <a:solidFill>
            <a:srgbClr val="CC000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vert="horz" wrap="square" lIns="91440" tIns="9144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Browser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196900" y="1236398"/>
            <a:ext cx="0" cy="3385569"/>
          </a:xfrm>
          <a:prstGeom prst="line">
            <a:avLst/>
          </a:prstGeom>
          <a:noFill/>
          <a:ln w="25400" cap="flat" cmpd="sng" algn="ctr">
            <a:solidFill>
              <a:srgbClr val="CC0000"/>
            </a:solidFill>
            <a:prstDash val="dashDot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16" name="Group 15"/>
          <p:cNvGrpSpPr/>
          <p:nvPr/>
        </p:nvGrpSpPr>
        <p:grpSpPr>
          <a:xfrm rot="5400000">
            <a:off x="4102419" y="2635582"/>
            <a:ext cx="397705" cy="880557"/>
            <a:chOff x="1871681" y="3726059"/>
            <a:chExt cx="518995" cy="1750981"/>
          </a:xfrm>
        </p:grpSpPr>
        <p:sp>
          <p:nvSpPr>
            <p:cNvPr id="17" name="Down Arrow 16"/>
            <p:cNvSpPr/>
            <p:nvPr/>
          </p:nvSpPr>
          <p:spPr bwMode="auto">
            <a:xfrm flipV="1">
              <a:off x="2146599" y="3726059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  <p:sp>
          <p:nvSpPr>
            <p:cNvPr id="18" name="Down Arrow 17"/>
            <p:cNvSpPr/>
            <p:nvPr/>
          </p:nvSpPr>
          <p:spPr bwMode="auto">
            <a:xfrm>
              <a:off x="1871681" y="3779028"/>
              <a:ext cx="244077" cy="1698012"/>
            </a:xfrm>
            <a:prstGeom prst="downArrow">
              <a:avLst/>
            </a:prstGeom>
            <a:solidFill>
              <a:sysClr val="windowText" lastClr="000000">
                <a:lumMod val="85000"/>
                <a:lumOff val="15000"/>
              </a:sysClr>
            </a:solidFill>
            <a:ln w="19050" cap="flat" cmpd="sng" algn="ctr">
              <a:solidFill>
                <a:sysClr val="window" lastClr="FFFFFF">
                  <a:lumMod val="8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endParaRPr>
            </a:p>
          </p:txBody>
        </p:sp>
      </p:grpSp>
      <p:sp>
        <p:nvSpPr>
          <p:cNvPr id="19" name="Rounded Rectangle 18"/>
          <p:cNvSpPr/>
          <p:nvPr/>
        </p:nvSpPr>
        <p:spPr bwMode="auto">
          <a:xfrm>
            <a:off x="3820155" y="2737065"/>
            <a:ext cx="821612" cy="162030"/>
          </a:xfrm>
          <a:prstGeom prst="round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black"/>
                </a:solidFill>
                <a:latin typeface="Avenir Black"/>
                <a:cs typeface="Avenir Black"/>
              </a:rPr>
              <a:t>REST, etc</a:t>
            </a:r>
            <a:endParaRPr lang="en-US" sz="1050" b="1" kern="0" dirty="0">
              <a:solidFill>
                <a:prstClr val="black"/>
              </a:solidFill>
              <a:latin typeface="Avenir Black"/>
              <a:cs typeface="Avenir Black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984012" y="2573025"/>
            <a:ext cx="2546086" cy="616678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Client-side MV*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2289721" y="3263112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DOM Helper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984011" y="3263112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UI Library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984011" y="3584274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Templates</a:t>
            </a:r>
          </a:p>
        </p:txBody>
      </p:sp>
      <p:sp>
        <p:nvSpPr>
          <p:cNvPr id="24" name="Rounded Rectangle 23"/>
          <p:cNvSpPr/>
          <p:nvPr/>
        </p:nvSpPr>
        <p:spPr bwMode="auto">
          <a:xfrm>
            <a:off x="2289721" y="3584274"/>
            <a:ext cx="1240377" cy="268245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venir Black"/>
                <a:cs typeface="Avenir Black"/>
              </a:rPr>
              <a:t>Other Helpers</a:t>
            </a:r>
          </a:p>
        </p:txBody>
      </p:sp>
      <p:sp>
        <p:nvSpPr>
          <p:cNvPr id="25" name="Rounded Rectangle 24"/>
          <p:cNvSpPr/>
          <p:nvPr/>
        </p:nvSpPr>
        <p:spPr bwMode="auto">
          <a:xfrm rot="5400000">
            <a:off x="7110012" y="1524677"/>
            <a:ext cx="965588" cy="416991"/>
          </a:xfrm>
          <a:prstGeom prst="roundRect">
            <a:avLst/>
          </a:prstGeom>
          <a:solidFill>
            <a:srgbClr val="CC33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1100" b="1" kern="0" dirty="0">
                <a:solidFill>
                  <a:srgbClr val="FFFFFF"/>
                </a:solidFill>
                <a:latin typeface="Avenir Black"/>
                <a:cs typeface="Avenir Black"/>
              </a:rPr>
              <a:t>CMS</a:t>
            </a:r>
          </a:p>
        </p:txBody>
      </p:sp>
      <p:sp>
        <p:nvSpPr>
          <p:cNvPr id="26" name="Rounded Rectangle 25"/>
          <p:cNvSpPr/>
          <p:nvPr/>
        </p:nvSpPr>
        <p:spPr bwMode="auto">
          <a:xfrm rot="5400000">
            <a:off x="3272028" y="2747756"/>
            <a:ext cx="3411746" cy="41699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API Layer</a:t>
            </a:r>
          </a:p>
        </p:txBody>
      </p:sp>
      <p:sp>
        <p:nvSpPr>
          <p:cNvPr id="27" name="Rounded Rectangle 26"/>
          <p:cNvSpPr/>
          <p:nvPr/>
        </p:nvSpPr>
        <p:spPr bwMode="auto">
          <a:xfrm rot="5400000">
            <a:off x="6401914" y="3262735"/>
            <a:ext cx="2381785" cy="416991"/>
          </a:xfrm>
          <a:prstGeom prst="roundRect">
            <a:avLst/>
          </a:prstGeom>
          <a:solidFill>
            <a:srgbClr val="CC33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/>
              <a:defRPr/>
            </a:pPr>
            <a:r>
              <a:rPr lang="en-US" sz="1100" b="1" kern="0" dirty="0" smtClean="0">
                <a:solidFill>
                  <a:srgbClr val="FFFFFF"/>
                </a:solidFill>
                <a:latin typeface="Avenir Black"/>
                <a:cs typeface="Avenir Black"/>
              </a:rPr>
              <a:t>Enterprise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 Services</a:t>
            </a:r>
          </a:p>
        </p:txBody>
      </p:sp>
      <p:sp>
        <p:nvSpPr>
          <p:cNvPr id="28" name="Rounded Rectangle 27"/>
          <p:cNvSpPr/>
          <p:nvPr/>
        </p:nvSpPr>
        <p:spPr bwMode="auto">
          <a:xfrm rot="5400000">
            <a:off x="6512421" y="2608758"/>
            <a:ext cx="3411746" cy="694985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Black"/>
                <a:cs typeface="Avenir Black"/>
              </a:rPr>
              <a:t>Back End Systems of Record</a:t>
            </a:r>
          </a:p>
        </p:txBody>
      </p:sp>
      <p:sp>
        <p:nvSpPr>
          <p:cNvPr id="29" name="Rounded Rectangle 28"/>
          <p:cNvSpPr/>
          <p:nvPr/>
        </p:nvSpPr>
        <p:spPr bwMode="auto">
          <a:xfrm rot="5400000">
            <a:off x="5400445" y="2747755"/>
            <a:ext cx="3411746" cy="416991"/>
          </a:xfrm>
          <a:prstGeom prst="roundRect">
            <a:avLst/>
          </a:prstGeom>
          <a:solidFill>
            <a:srgbClr val="9A0E2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Security Authorization, Validation, and Enforcement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606176"/>
            <a:ext cx="91580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i="1">
                <a:solidFill>
                  <a:srgbClr val="CC0000"/>
                </a:solidFill>
                <a:latin typeface="Avenir Black"/>
                <a:cs typeface="Avenir Black"/>
              </a:defRPr>
            </a:lvl1pPr>
          </a:lstStyle>
          <a:p>
            <a:r>
              <a:rPr lang="en-US" sz="1200" dirty="0">
                <a:solidFill>
                  <a:srgbClr val="E46C09"/>
                </a:solidFill>
                <a:latin typeface="Arial"/>
                <a:cs typeface="Arial"/>
              </a:rPr>
              <a:t>A modern cross-platform architecture </a:t>
            </a:r>
            <a:r>
              <a:rPr lang="en-US" sz="1200" dirty="0" smtClean="0">
                <a:solidFill>
                  <a:srgbClr val="E46C09"/>
                </a:solidFill>
                <a:latin typeface="Arial"/>
                <a:cs typeface="Arial"/>
              </a:rPr>
              <a:t>can also utilize a lightweight Web API layer (often written in node.js) to handle complex tasks on the server side  </a:t>
            </a:r>
            <a:endParaRPr lang="en-US" sz="1200" dirty="0">
              <a:solidFill>
                <a:srgbClr val="E46C09"/>
              </a:solidFill>
              <a:latin typeface="Arial"/>
              <a:cs typeface="Arial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5255893" y="1236400"/>
            <a:ext cx="1605643" cy="2519171"/>
            <a:chOff x="5793913" y="1236400"/>
            <a:chExt cx="1605643" cy="2519171"/>
          </a:xfrm>
        </p:grpSpPr>
        <p:sp>
          <p:nvSpPr>
            <p:cNvPr id="32" name="Rounded Rectangle 31"/>
            <p:cNvSpPr/>
            <p:nvPr/>
          </p:nvSpPr>
          <p:spPr bwMode="auto">
            <a:xfrm>
              <a:off x="5793913" y="1236400"/>
              <a:ext cx="1605643" cy="2519171"/>
            </a:xfrm>
            <a:prstGeom prst="roundRect">
              <a:avLst/>
            </a:prstGeom>
            <a:solidFill>
              <a:srgbClr val="9A0E2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7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Black"/>
                  <a:cs typeface="Avenir Black"/>
                </a:rPr>
                <a:t>Presentation API Layer</a:t>
              </a:r>
            </a:p>
          </p:txBody>
        </p:sp>
        <p:sp>
          <p:nvSpPr>
            <p:cNvPr id="33" name="Rounded Rectangle 32"/>
            <p:cNvSpPr/>
            <p:nvPr/>
          </p:nvSpPr>
          <p:spPr bwMode="auto">
            <a:xfrm>
              <a:off x="5989939" y="1681604"/>
              <a:ext cx="1240377" cy="268245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Text" lastClr="000000">
                  <a:lumMod val="85000"/>
                  <a:lumOff val="1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1" kern="0" dirty="0" smtClean="0">
                  <a:solidFill>
                    <a:prstClr val="white"/>
                  </a:solidFill>
                  <a:latin typeface="Avenir Black"/>
                  <a:cs typeface="Avenir Black"/>
                </a:rPr>
                <a:t>Templates</a:t>
              </a:r>
            </a:p>
          </p:txBody>
        </p:sp>
        <p:sp>
          <p:nvSpPr>
            <p:cNvPr id="34" name="Rounded Rectangle 33"/>
            <p:cNvSpPr/>
            <p:nvPr/>
          </p:nvSpPr>
          <p:spPr bwMode="auto">
            <a:xfrm>
              <a:off x="5999010" y="2024730"/>
              <a:ext cx="1240377" cy="268245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Text" lastClr="000000">
                  <a:lumMod val="85000"/>
                  <a:lumOff val="1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1" kern="0" dirty="0" smtClean="0">
                  <a:solidFill>
                    <a:prstClr val="white"/>
                  </a:solidFill>
                  <a:latin typeface="Avenir Black"/>
                  <a:cs typeface="Avenir Black"/>
                </a:rPr>
                <a:t>Orchestration</a:t>
              </a:r>
            </a:p>
          </p:txBody>
        </p:sp>
        <p:sp>
          <p:nvSpPr>
            <p:cNvPr id="35" name="Rounded Rectangle 34"/>
            <p:cNvSpPr/>
            <p:nvPr/>
          </p:nvSpPr>
          <p:spPr bwMode="auto">
            <a:xfrm>
              <a:off x="5991753" y="2710982"/>
              <a:ext cx="1240377" cy="268245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Text" lastClr="000000">
                  <a:lumMod val="85000"/>
                  <a:lumOff val="1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prstClr val="white"/>
                  </a:solidFill>
                  <a:latin typeface="Avenir Black"/>
                  <a:cs typeface="Avenir Black"/>
                </a:rPr>
                <a:t>Execution Services</a:t>
              </a:r>
            </a:p>
          </p:txBody>
        </p:sp>
        <p:sp>
          <p:nvSpPr>
            <p:cNvPr id="36" name="Rounded Rectangle 35"/>
            <p:cNvSpPr/>
            <p:nvPr/>
          </p:nvSpPr>
          <p:spPr bwMode="auto">
            <a:xfrm>
              <a:off x="5993567" y="2367856"/>
              <a:ext cx="1240377" cy="268245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Text" lastClr="000000">
                  <a:lumMod val="85000"/>
                  <a:lumOff val="1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prstClr val="white"/>
                  </a:solidFill>
                  <a:latin typeface="Avenir Black"/>
                  <a:cs typeface="Avenir Black"/>
                </a:rPr>
                <a:t>UI-Specific Endpoints</a:t>
              </a:r>
            </a:p>
          </p:txBody>
        </p:sp>
        <p:sp>
          <p:nvSpPr>
            <p:cNvPr id="37" name="Rounded Rectangle 36"/>
            <p:cNvSpPr/>
            <p:nvPr/>
          </p:nvSpPr>
          <p:spPr bwMode="auto">
            <a:xfrm>
              <a:off x="5995381" y="3054108"/>
              <a:ext cx="1240377" cy="268245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Text" lastClr="000000">
                  <a:lumMod val="85000"/>
                  <a:lumOff val="1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prstClr val="white"/>
                  </a:solidFill>
                  <a:latin typeface="Avenir Black"/>
                  <a:cs typeface="Avenir Black"/>
                </a:rPr>
                <a:t>Content Services</a:t>
              </a:r>
            </a:p>
          </p:txBody>
        </p:sp>
        <p:sp>
          <p:nvSpPr>
            <p:cNvPr id="38" name="Rounded Rectangle 37"/>
            <p:cNvSpPr/>
            <p:nvPr/>
          </p:nvSpPr>
          <p:spPr bwMode="auto">
            <a:xfrm>
              <a:off x="5997195" y="3397236"/>
              <a:ext cx="1240377" cy="268245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Text" lastClr="000000">
                  <a:lumMod val="85000"/>
                  <a:lumOff val="15000"/>
                </a:sys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prstClr val="white"/>
                  </a:solidFill>
                  <a:latin typeface="Avenir Black"/>
                  <a:cs typeface="Avenir Black"/>
                </a:rPr>
                <a:t>etc</a:t>
              </a:r>
            </a:p>
          </p:txBody>
        </p:sp>
      </p:grpSp>
      <p:sp>
        <p:nvSpPr>
          <p:cNvPr id="40" name="Rounded Rectangle 39"/>
          <p:cNvSpPr/>
          <p:nvPr/>
        </p:nvSpPr>
        <p:spPr bwMode="auto">
          <a:xfrm>
            <a:off x="5255893" y="3806878"/>
            <a:ext cx="1605643" cy="367467"/>
          </a:xfrm>
          <a:prstGeom prst="roundRect">
            <a:avLst/>
          </a:prstGeom>
          <a:solidFill>
            <a:srgbClr val="CC003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Response Caching</a:t>
            </a:r>
          </a:p>
        </p:txBody>
      </p:sp>
      <p:sp>
        <p:nvSpPr>
          <p:cNvPr id="41" name="Rounded Rectangle 40"/>
          <p:cNvSpPr/>
          <p:nvPr/>
        </p:nvSpPr>
        <p:spPr bwMode="auto">
          <a:xfrm>
            <a:off x="5255893" y="4254500"/>
            <a:ext cx="1605643" cy="367467"/>
          </a:xfrm>
          <a:prstGeom prst="roundRect">
            <a:avLst/>
          </a:prstGeom>
          <a:solidFill>
            <a:srgbClr val="CC003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lack"/>
                <a:cs typeface="Avenir Black"/>
              </a:rPr>
              <a:t>Load Balancing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8280941" y="119876"/>
            <a:ext cx="482832" cy="482832"/>
            <a:chOff x="5177116" y="3793065"/>
            <a:chExt cx="321235" cy="321235"/>
          </a:xfrm>
        </p:grpSpPr>
        <p:sp>
          <p:nvSpPr>
            <p:cNvPr id="43" name="Oval 42"/>
            <p:cNvSpPr/>
            <p:nvPr/>
          </p:nvSpPr>
          <p:spPr>
            <a:xfrm>
              <a:off x="5177116" y="3793065"/>
              <a:ext cx="321235" cy="321235"/>
            </a:xfrm>
            <a:prstGeom prst="ellipse">
              <a:avLst/>
            </a:prstGeom>
            <a:solidFill>
              <a:srgbClr val="E46C0A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2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44355" y="3882718"/>
              <a:ext cx="200297" cy="1514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48938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  <p:tag name="ACCENTFARBEEXIST" val="0"/>
  <p:tag name="VERSION" val="V8.0"/>
  <p:tag name="VORLAGE" val="QPT_Molecules"/>
  <p:tag name="GROESSE" val="Standar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heme/theme1.xml><?xml version="1.0" encoding="utf-8"?>
<a:theme xmlns:a="http://schemas.openxmlformats.org/drawingml/2006/main" name="1_AOWP Master">
  <a:themeElements>
    <a:clrScheme name="Custom 3">
      <a:dk1>
        <a:sysClr val="windowText" lastClr="000000"/>
      </a:dk1>
      <a:lt1>
        <a:sysClr val="window" lastClr="FFFFFF"/>
      </a:lt1>
      <a:dk2>
        <a:srgbClr val="666666"/>
      </a:dk2>
      <a:lt2>
        <a:srgbClr val="EEECE1"/>
      </a:lt2>
      <a:accent1>
        <a:srgbClr val="CA2F31"/>
      </a:accent1>
      <a:accent2>
        <a:srgbClr val="000000"/>
      </a:accent2>
      <a:accent3>
        <a:srgbClr val="666666"/>
      </a:accent3>
      <a:accent4>
        <a:srgbClr val="FF0000"/>
      </a:accent4>
      <a:accent5>
        <a:srgbClr val="FF6666"/>
      </a:accent5>
      <a:accent6>
        <a:srgbClr val="F3F3F3"/>
      </a:accent6>
      <a:hlink>
        <a:srgbClr val="BA1C29"/>
      </a:hlink>
      <a:folHlink>
        <a:srgbClr val="8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AOWP Alternate">
  <a:themeElements>
    <a:clrScheme name="Custom 2">
      <a:dk1>
        <a:sysClr val="windowText" lastClr="000000"/>
      </a:dk1>
      <a:lt1>
        <a:sysClr val="window" lastClr="FFFFFF"/>
      </a:lt1>
      <a:dk2>
        <a:srgbClr val="666666"/>
      </a:dk2>
      <a:lt2>
        <a:srgbClr val="EEECE1"/>
      </a:lt2>
      <a:accent1>
        <a:srgbClr val="CA2F31"/>
      </a:accent1>
      <a:accent2>
        <a:srgbClr val="000000"/>
      </a:accent2>
      <a:accent3>
        <a:srgbClr val="666666"/>
      </a:accent3>
      <a:accent4>
        <a:srgbClr val="8064A2"/>
      </a:accent4>
      <a:accent5>
        <a:srgbClr val="4BACC6"/>
      </a:accent5>
      <a:accent6>
        <a:srgbClr val="F3F3F3"/>
      </a:accent6>
      <a:hlink>
        <a:srgbClr val="BA1C29"/>
      </a:hlink>
      <a:folHlink>
        <a:srgbClr val="8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B8E9F4211BF2469ED759AE99D5288D" ma:contentTypeVersion="0" ma:contentTypeDescription="Create a new document." ma:contentTypeScope="" ma:versionID="638ae30c812afcf1778f063b1fc2e57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263F07-070F-4AFC-BA56-3A975C43E3E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2A0B0A15-D2C4-411A-B12C-1F273CE2C6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5859FD-712D-47B2-867A-A15DC6D35B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OWP 16x9.potx</Template>
  <TotalTime>20417</TotalTime>
  <Words>5455</Words>
  <Application>Microsoft Macintosh PowerPoint</Application>
  <PresentationFormat>On-screen Show (16:9)</PresentationFormat>
  <Paragraphs>900</Paragraphs>
  <Slides>55</Slides>
  <Notes>7</Notes>
  <HiddenSlides>4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5</vt:i4>
      </vt:variant>
    </vt:vector>
  </HeadingPairs>
  <TitlesOfParts>
    <vt:vector size="57" baseType="lpstr">
      <vt:lpstr>1_AOWP Master</vt:lpstr>
      <vt:lpstr>1_AOWP Alternate</vt:lpstr>
      <vt:lpstr>Executive Overview</vt:lpstr>
      <vt:lpstr>The Problem</vt:lpstr>
      <vt:lpstr>The Opportunity</vt:lpstr>
      <vt:lpstr>The Solution</vt:lpstr>
      <vt:lpstr>New Architecture for New Class of Apps: Client/API</vt:lpstr>
      <vt:lpstr>Solution Component - JavaScript-Powered Clients</vt:lpstr>
      <vt:lpstr>Solution Component - APIs</vt:lpstr>
      <vt:lpstr>Client/API Architecture – Web Client / Hybrid Mobile </vt:lpstr>
      <vt:lpstr>Client/API Architecture – Client + Presentation APIs</vt:lpstr>
      <vt:lpstr>Client/API Architecture – Isomorphic JavaScript</vt:lpstr>
      <vt:lpstr>Client/API Architecture - DevOps</vt:lpstr>
      <vt:lpstr>Responsive Design Evolved</vt:lpstr>
      <vt:lpstr>Understanding Lightweight Architecture</vt:lpstr>
      <vt:lpstr>Why these changes?</vt:lpstr>
      <vt:lpstr>Why would I make such a radical shift?</vt:lpstr>
      <vt:lpstr>Technical Challenges</vt:lpstr>
      <vt:lpstr>JavaScript is an Ecosystem, not a Framework</vt:lpstr>
      <vt:lpstr>What problems remain – Why Accenture?</vt:lpstr>
      <vt:lpstr>Accenture Open Web Platform</vt:lpstr>
      <vt:lpstr>PowerPoint Presentation</vt:lpstr>
      <vt:lpstr>Architect</vt:lpstr>
      <vt:lpstr>Sample Client/API Reference Architecture with Angular.js</vt:lpstr>
      <vt:lpstr>Reference Architecture in Action</vt:lpstr>
      <vt:lpstr>Build - Assets</vt:lpstr>
      <vt:lpstr>Build - Technology</vt:lpstr>
      <vt:lpstr>Deliver - Methodology</vt:lpstr>
      <vt:lpstr>Deliver – Everyone is Agile </vt:lpstr>
      <vt:lpstr>DevOps - Technology</vt:lpstr>
      <vt:lpstr>DevOps - Methodology</vt:lpstr>
      <vt:lpstr>Deliver - Test Automation</vt:lpstr>
      <vt:lpstr>Deliver – Test Driven Development</vt:lpstr>
      <vt:lpstr>AOWP Academy</vt:lpstr>
      <vt:lpstr>More Information</vt:lpstr>
      <vt:lpstr>Selected CREDENTIALS</vt:lpstr>
      <vt:lpstr>Telecom Site Re-Architecture &amp; Re-Platform</vt:lpstr>
      <vt:lpstr>Telecom Site Re-Architecture &amp; Re-Platform</vt:lpstr>
      <vt:lpstr>Cross-Channel Digital Convergence</vt:lpstr>
      <vt:lpstr>Cross-Channel Digital Convergence</vt:lpstr>
      <vt:lpstr>User Interface Reference Architecture</vt:lpstr>
      <vt:lpstr>User Interface Reference Architecture</vt:lpstr>
      <vt:lpstr>Case Management Software</vt:lpstr>
      <vt:lpstr>Case Management Software</vt:lpstr>
      <vt:lpstr>User Experience and UI Architecture Strategic Program</vt:lpstr>
      <vt:lpstr>PowerPoint Presentation</vt:lpstr>
      <vt:lpstr>Ashoka Data Platform</vt:lpstr>
      <vt:lpstr>Ashoka Data Platform</vt:lpstr>
      <vt:lpstr>Appendix 1: Lightweight Architecture at Accenture</vt:lpstr>
      <vt:lpstr>Lightweight Architecture at Accenture - Practice</vt:lpstr>
      <vt:lpstr>Other Accenture Open Platforms</vt:lpstr>
      <vt:lpstr>Lightweight Architecture at Accenture - Capability</vt:lpstr>
      <vt:lpstr>Appendix 2: Technology</vt:lpstr>
      <vt:lpstr>AOWP Technology Overview</vt:lpstr>
      <vt:lpstr>Technologies – MV*</vt:lpstr>
      <vt:lpstr>Technologies – Developer Productivity</vt:lpstr>
      <vt:lpstr>Technology - Testing</vt:lpstr>
    </vt:vector>
  </TitlesOfParts>
  <Manager>sven.g.loberg</Manager>
  <Company>Accenture, LLP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ware Engineering Innovation Project Credentials</dc:title>
  <dc:subject>credentials</dc:subject>
  <dc:creator>e.j.garcia</dc:creator>
  <cp:keywords>credentials, aowp, technology, ata, projects</cp:keywords>
  <dc:description/>
  <cp:lastModifiedBy>Matthew Lancaster</cp:lastModifiedBy>
  <cp:revision>273</cp:revision>
  <dcterms:created xsi:type="dcterms:W3CDTF">2014-06-10T09:29:15Z</dcterms:created>
  <dcterms:modified xsi:type="dcterms:W3CDTF">2015-01-12T16:57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B8E9F4211BF2469ED759AE99D5288D</vt:lpwstr>
  </property>
  <property fmtid="{D5CDD505-2E9C-101B-9397-08002B2CF9AE}" pid="3" name="TaxKeyword">
    <vt:lpwstr>10;#ata|0e2709c2-b457-432a-935c-013091784ada;#9;#projects|1d591765-fbfa-43f1-8591-6846bf0ae2ec;#8;#technology|4db5d0f9-bc4a-4f9f-907e-5a57fab7d390;#7;#credentials|99e6bb51-2982-4044-9d69-b67ce022a66a;#4;#AOWP|8d9d0a5f-1411-44cf-90bd-600ff7f197db</vt:lpwstr>
  </property>
  <property fmtid="{D5CDD505-2E9C-101B-9397-08002B2CF9AE}" pid="4" name="Order">
    <vt:r8>1400</vt:r8>
  </property>
  <property fmtid="{D5CDD505-2E9C-101B-9397-08002B2CF9AE}" pid="5" name="TemplateUrl">
    <vt:lpwstr/>
  </property>
  <property fmtid="{D5CDD505-2E9C-101B-9397-08002B2CF9AE}" pid="6" name="_CopySource">
    <vt:lpwstr>https://kxsites.accenture.com/groups/aowp/Credentials/New Consolidated Credentials.pptx</vt:lpwstr>
  </property>
  <property fmtid="{D5CDD505-2E9C-101B-9397-08002B2CF9AE}" pid="7" name="xd_ProgID">
    <vt:lpwstr/>
  </property>
  <property fmtid="{D5CDD505-2E9C-101B-9397-08002B2CF9AE}" pid="8" name="_SourceUrl">
    <vt:lpwstr/>
  </property>
  <property fmtid="{D5CDD505-2E9C-101B-9397-08002B2CF9AE}" pid="9" name="_SharedFileIndex">
    <vt:lpwstr/>
  </property>
</Properties>
</file>